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80"/>
  </p:notesMasterIdLst>
  <p:sldIdLst>
    <p:sldId id="256" r:id="rId5"/>
    <p:sldId id="538" r:id="rId6"/>
    <p:sldId id="516" r:id="rId7"/>
    <p:sldId id="565" r:id="rId8"/>
    <p:sldId id="524" r:id="rId9"/>
    <p:sldId id="539" r:id="rId10"/>
    <p:sldId id="435" r:id="rId11"/>
    <p:sldId id="525" r:id="rId12"/>
    <p:sldId id="526" r:id="rId13"/>
    <p:sldId id="527" r:id="rId14"/>
    <p:sldId id="567" r:id="rId15"/>
    <p:sldId id="568" r:id="rId16"/>
    <p:sldId id="569" r:id="rId17"/>
    <p:sldId id="570" r:id="rId18"/>
    <p:sldId id="571" r:id="rId19"/>
    <p:sldId id="528" r:id="rId20"/>
    <p:sldId id="529" r:id="rId21"/>
    <p:sldId id="555" r:id="rId22"/>
    <p:sldId id="530" r:id="rId23"/>
    <p:sldId id="566" r:id="rId24"/>
    <p:sldId id="556" r:id="rId25"/>
    <p:sldId id="563" r:id="rId26"/>
    <p:sldId id="564" r:id="rId27"/>
    <p:sldId id="560" r:id="rId28"/>
    <p:sldId id="574" r:id="rId29"/>
    <p:sldId id="561" r:id="rId30"/>
    <p:sldId id="557" r:id="rId31"/>
    <p:sldId id="558" r:id="rId32"/>
    <p:sldId id="559" r:id="rId33"/>
    <p:sldId id="540" r:id="rId34"/>
    <p:sldId id="545" r:id="rId35"/>
    <p:sldId id="541" r:id="rId36"/>
    <p:sldId id="578" r:id="rId37"/>
    <p:sldId id="543" r:id="rId38"/>
    <p:sldId id="544" r:id="rId39"/>
    <p:sldId id="546" r:id="rId40"/>
    <p:sldId id="552" r:id="rId41"/>
    <p:sldId id="553" r:id="rId42"/>
    <p:sldId id="554" r:id="rId43"/>
    <p:sldId id="572" r:id="rId44"/>
    <p:sldId id="573" r:id="rId45"/>
    <p:sldId id="580" r:id="rId46"/>
    <p:sldId id="575" r:id="rId47"/>
    <p:sldId id="576" r:id="rId48"/>
    <p:sldId id="581" r:id="rId49"/>
    <p:sldId id="577" r:id="rId50"/>
    <p:sldId id="579" r:id="rId51"/>
    <p:sldId id="551" r:id="rId52"/>
    <p:sldId id="531" r:id="rId53"/>
    <p:sldId id="535" r:id="rId54"/>
    <p:sldId id="536" r:id="rId55"/>
    <p:sldId id="537" r:id="rId56"/>
    <p:sldId id="598" r:id="rId57"/>
    <p:sldId id="599" r:id="rId58"/>
    <p:sldId id="600" r:id="rId59"/>
    <p:sldId id="601" r:id="rId60"/>
    <p:sldId id="603" r:id="rId61"/>
    <p:sldId id="582" r:id="rId62"/>
    <p:sldId id="583" r:id="rId63"/>
    <p:sldId id="584" r:id="rId64"/>
    <p:sldId id="585" r:id="rId65"/>
    <p:sldId id="586" r:id="rId66"/>
    <p:sldId id="587" r:id="rId67"/>
    <p:sldId id="588" r:id="rId68"/>
    <p:sldId id="589" r:id="rId69"/>
    <p:sldId id="590" r:id="rId70"/>
    <p:sldId id="591" r:id="rId71"/>
    <p:sldId id="592" r:id="rId72"/>
    <p:sldId id="593" r:id="rId73"/>
    <p:sldId id="594" r:id="rId74"/>
    <p:sldId id="595" r:id="rId75"/>
    <p:sldId id="596" r:id="rId76"/>
    <p:sldId id="597" r:id="rId77"/>
    <p:sldId id="495" r:id="rId78"/>
    <p:sldId id="454" r:id="rId7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37C1242-673F-41CE-A8E9-582CB5EE3650}">
          <p14:sldIdLst>
            <p14:sldId id="256"/>
            <p14:sldId id="538"/>
          </p14:sldIdLst>
        </p14:section>
        <p14:section name="Your service and Azure" id="{B60AAA93-104B-44B7-ADD2-01E8AE6BF623}">
          <p14:sldIdLst>
            <p14:sldId id="516"/>
            <p14:sldId id="565"/>
            <p14:sldId id="524"/>
          </p14:sldIdLst>
        </p14:section>
        <p14:section name="Virtual Machines" id="{054F4170-1957-4BF8-A0B4-F6C5E3D23B52}">
          <p14:sldIdLst>
            <p14:sldId id="539"/>
            <p14:sldId id="435"/>
            <p14:sldId id="525"/>
            <p14:sldId id="526"/>
            <p14:sldId id="527"/>
            <p14:sldId id="567"/>
            <p14:sldId id="568"/>
            <p14:sldId id="569"/>
            <p14:sldId id="570"/>
            <p14:sldId id="571"/>
            <p14:sldId id="528"/>
            <p14:sldId id="529"/>
            <p14:sldId id="555"/>
            <p14:sldId id="530"/>
            <p14:sldId id="566"/>
            <p14:sldId id="556"/>
            <p14:sldId id="563"/>
            <p14:sldId id="564"/>
            <p14:sldId id="560"/>
            <p14:sldId id="574"/>
            <p14:sldId id="561"/>
            <p14:sldId id="557"/>
            <p14:sldId id="558"/>
            <p14:sldId id="559"/>
            <p14:sldId id="540"/>
            <p14:sldId id="545"/>
            <p14:sldId id="541"/>
            <p14:sldId id="578"/>
            <p14:sldId id="543"/>
            <p14:sldId id="544"/>
            <p14:sldId id="546"/>
            <p14:sldId id="552"/>
            <p14:sldId id="553"/>
            <p14:sldId id="554"/>
            <p14:sldId id="572"/>
            <p14:sldId id="573"/>
          </p14:sldIdLst>
        </p14:section>
        <p14:section name="Scale" id="{31FE145C-B601-48F4-9D1A-7B73F26E97BB}">
          <p14:sldIdLst>
            <p14:sldId id="580"/>
            <p14:sldId id="575"/>
            <p14:sldId id="576"/>
            <p14:sldId id="581"/>
            <p14:sldId id="577"/>
            <p14:sldId id="579"/>
          </p14:sldIdLst>
        </p14:section>
        <p14:section name="Virtual Networks" id="{0DCC1F4F-3C43-448F-AEEB-EC60FF65E578}">
          <p14:sldIdLst>
            <p14:sldId id="551"/>
            <p14:sldId id="531"/>
            <p14:sldId id="535"/>
            <p14:sldId id="536"/>
            <p14:sldId id="537"/>
          </p14:sldIdLst>
        </p14:section>
        <p14:section name="Docker" id="{CEC8190B-D614-4853-91DE-F3036DF852D4}">
          <p14:sldIdLst>
            <p14:sldId id="598"/>
            <p14:sldId id="599"/>
            <p14:sldId id="600"/>
            <p14:sldId id="601"/>
            <p14:sldId id="603"/>
          </p14:sldIdLst>
        </p14:section>
        <p14:section name="Closing" id="{20E1A705-EE69-4D2A-9982-B6E322B5AA11}">
          <p14:sldIdLst>
            <p14:sldId id="582"/>
            <p14:sldId id="583"/>
            <p14:sldId id="584"/>
            <p14:sldId id="585"/>
            <p14:sldId id="586"/>
            <p14:sldId id="587"/>
            <p14:sldId id="588"/>
            <p14:sldId id="589"/>
            <p14:sldId id="590"/>
            <p14:sldId id="591"/>
            <p14:sldId id="592"/>
            <p14:sldId id="593"/>
            <p14:sldId id="594"/>
            <p14:sldId id="595"/>
            <p14:sldId id="596"/>
            <p14:sldId id="597"/>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4380"/>
    <a:srgbClr val="75E6FF"/>
    <a:srgbClr val="4472C4"/>
    <a:srgbClr val="00B0F0"/>
    <a:srgbClr val="548235"/>
    <a:srgbClr val="FFF2CC"/>
    <a:srgbClr val="012456"/>
    <a:srgbClr val="CCFF66"/>
    <a:srgbClr val="19396C"/>
    <a:srgbClr val="081C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167" autoAdjust="0"/>
    <p:restoredTop sz="53892" autoAdjust="0"/>
  </p:normalViewPr>
  <p:slideViewPr>
    <p:cSldViewPr snapToGrid="0">
      <p:cViewPr varScale="1">
        <p:scale>
          <a:sx n="48" d="100"/>
          <a:sy n="48" d="100"/>
        </p:scale>
        <p:origin x="168" y="48"/>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presProps" Target="presProps.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3.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20/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 high-level overview of Azure </a:t>
            </a:r>
            <a:r>
              <a:rPr lang="en-US" dirty="0" err="1" smtClean="0"/>
              <a:t>IaaS</a:t>
            </a:r>
            <a:r>
              <a:rPr lang="en-US" dirty="0" smtClean="0"/>
              <a:t>. It covers essential concepts</a:t>
            </a:r>
            <a:r>
              <a:rPr lang="en-US" baseline="0" dirty="0" smtClean="0"/>
              <a:t> and tools for people who are new to Azure to get started. It covers both Virtual Machines and Virtual Networks. </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for the speaker to reiterate the first segment, which should have been covered by the “Design Cloud Solutions” session earlier. </a:t>
            </a:r>
          </a:p>
          <a:p>
            <a:pPr marL="171450" indent="-171450">
              <a:buFont typeface="Arial" panose="020B0604020202020204" pitchFamily="34" charset="0"/>
              <a:buChar char="•"/>
            </a:pPr>
            <a:r>
              <a:rPr lang="en-US" baseline="0" dirty="0" smtClean="0"/>
              <a:t>Given there are lots of contents to be covered, the speaker should focus on only high-level concepts instead of drilling too much into details.</a:t>
            </a:r>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p>
          <a:p>
            <a:pPr marL="171450" indent="-171450" algn="l">
              <a:buFont typeface="Arial" panose="020B0604020202020204" pitchFamily="34" charset="0"/>
              <a:buChar char="•"/>
            </a:pPr>
            <a:r>
              <a:rPr lang="en-US" b="0" baseline="0" dirty="0" smtClean="0"/>
              <a:t>Basic is limited to A0-A4, lower disk speed and does not include load balancing or auto-scaling, but is cheaper</a:t>
            </a:r>
          </a:p>
          <a:p>
            <a:pPr marL="0" indent="0" algn="l">
              <a:buFont typeface="Arial" panose="020B0604020202020204" pitchFamily="34" charset="0"/>
              <a:buNone/>
            </a:pPr>
            <a:endParaRPr lang="en-US" b="0"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67493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X Canada Custom Demo: </a:t>
            </a:r>
            <a:r>
              <a:rPr lang="en-US" b="0" dirty="0" smtClean="0"/>
              <a:t>see</a:t>
            </a:r>
            <a:r>
              <a:rPr lang="en-US" b="0" baseline="0" dirty="0" smtClean="0"/>
              <a:t> Demos\001 - Provisioning VM\Provisioning VM - Current Portal.html</a:t>
            </a:r>
          </a:p>
          <a:p>
            <a:endParaRPr lang="en-US" b="0" baseline="0" dirty="0" smtClean="0"/>
          </a:p>
          <a:p>
            <a:r>
              <a:rPr lang="en-US" b="0" baseline="0" dirty="0" smtClean="0"/>
              <a:t>-----------------------------------------------------------------------------------------------------</a:t>
            </a:r>
          </a:p>
          <a:p>
            <a:endParaRPr lang="en-US" b="1" dirty="0" smtClean="0"/>
          </a:p>
          <a:p>
            <a:endParaRPr lang="en-US" b="1" dirty="0" smtClean="0"/>
          </a:p>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30756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626482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959064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1766568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28619028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with Azure VMs you have two methods to add more storage to your VMS or to persist file data either by attaching data disks (</a:t>
            </a:r>
            <a:r>
              <a:rPr lang="en-US" baseline="0" dirty="0" err="1" smtClean="0"/>
              <a:t>vhd</a:t>
            </a:r>
            <a:r>
              <a:rPr lang="en-US" baseline="0" dirty="0" smtClean="0"/>
              <a:t> files from your storage account) or Azure Files which can be accessed like any SMB share over UNC. Thi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3584756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p>
          <a:p>
            <a:endParaRPr lang="en-US" baseline="0" dirty="0" smtClean="0"/>
          </a:p>
          <a:p>
            <a:r>
              <a:rPr lang="en-US" b="1" baseline="0" dirty="0" smtClean="0"/>
              <a:t>Notes:</a:t>
            </a:r>
          </a:p>
          <a:p>
            <a:pPr marL="171450" indent="-171450">
              <a:buFont typeface="Arial" panose="020B0604020202020204" pitchFamily="34" charset="0"/>
              <a:buChar char="•"/>
            </a:pPr>
            <a:r>
              <a:rPr lang="en-US" b="0" baseline="0" dirty="0" smtClean="0"/>
              <a:t>OS Images from </a:t>
            </a:r>
            <a:r>
              <a:rPr lang="en-US" b="0" baseline="0" dirty="0" err="1" smtClean="0"/>
              <a:t>from</a:t>
            </a:r>
            <a:r>
              <a:rPr lang="en-US" b="0" baseline="0" dirty="0" smtClean="0"/>
              <a:t> the gallery, from the VM Depot or are user supplied, they are used to create new VMs</a:t>
            </a:r>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dirty="0"/>
          </a:p>
        </p:txBody>
      </p:sp>
    </p:spTree>
    <p:extLst>
      <p:ext uri="{BB962C8B-B14F-4D97-AF65-F5344CB8AC3E}">
        <p14:creationId xmlns:p14="http://schemas.microsoft.com/office/powerpoint/2010/main" val="40669547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dirty="0"/>
          </a:p>
        </p:txBody>
      </p:sp>
    </p:spTree>
    <p:extLst>
      <p:ext uri="{BB962C8B-B14F-4D97-AF65-F5344CB8AC3E}">
        <p14:creationId xmlns:p14="http://schemas.microsoft.com/office/powerpoint/2010/main" val="34427203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742410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9401726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2203035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a:t>
            </a:r>
            <a:r>
              <a:rPr lang="en-US" baseline="0" dirty="0" smtClean="0"/>
              <a:t> Azure Files is essentially a File Share as a Service and accessible by SMB (UNC) and HTTP REST APIs and can be connected to by multiple VMs or PaaS services.</a:t>
            </a:r>
            <a:endParaRPr lang="en-US" dirty="0" smtClean="0"/>
          </a:p>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5/2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405663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8</a:t>
            </a:fld>
            <a:endParaRPr lang="en-US"/>
          </a:p>
        </p:txBody>
      </p:sp>
    </p:spTree>
    <p:extLst>
      <p:ext uri="{BB962C8B-B14F-4D97-AF65-F5344CB8AC3E}">
        <p14:creationId xmlns:p14="http://schemas.microsoft.com/office/powerpoint/2010/main" val="17699432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 Notes:</a:t>
            </a:r>
          </a:p>
          <a:p>
            <a:r>
              <a:rPr lang="en-US" dirty="0" smtClean="0"/>
              <a:t>Unhide to</a:t>
            </a:r>
            <a:r>
              <a:rPr lang="en-US" baseline="0" dirty="0" smtClean="0"/>
              <a:t> add more details if necessary</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5544251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1443161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There is a lot</a:t>
            </a:r>
            <a:r>
              <a:rPr lang="en-NZ" b="0" baseline="0" dirty="0" smtClean="0"/>
              <a:t> of misunderstanding of “uptime” and what “five nines uptime” means (which is 5.2 minutes of downtime a year. Most companies should be fine with three nines (9 hours a year).</a:t>
            </a:r>
          </a:p>
          <a:p>
            <a:pPr defTabSz="721141">
              <a:lnSpc>
                <a:spcPct val="90000"/>
              </a:lnSpc>
              <a:spcAft>
                <a:spcPts val="263"/>
              </a:spcAft>
              <a:defRPr/>
            </a:pPr>
            <a:endParaRPr lang="en-NZ" b="0" baseline="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marL="171450" indent="-171450" defTabSz="721141">
              <a:lnSpc>
                <a:spcPct val="90000"/>
              </a:lnSpc>
              <a:spcAft>
                <a:spcPts val="263"/>
              </a:spcAft>
              <a:buFont typeface="Arial" panose="020B0604020202020204" pitchFamily="34" charset="0"/>
              <a:buChar char="•"/>
              <a:defRPr/>
            </a:pPr>
            <a:r>
              <a:rPr lang="en-CA" dirty="0" smtClean="0"/>
              <a:t>Emphasize that to get 99.95% SLA</a:t>
            </a:r>
            <a:r>
              <a:rPr lang="en-CA" baseline="0" dirty="0" smtClean="0"/>
              <a:t> you will need at least two instances of everything you are running.</a:t>
            </a:r>
            <a:endParaRPr lang="en-CA"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34924918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what</a:t>
            </a:r>
            <a:r>
              <a:rPr lang="en-US" baseline="0" dirty="0" smtClean="0"/>
              <a:t> our SLA is (99.95%), what it includes and what it does not include</a:t>
            </a:r>
          </a:p>
          <a:p>
            <a:pPr defTabSz="924458">
              <a:defRPr/>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65401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a recommended</a:t>
            </a:r>
            <a:r>
              <a:rPr lang="en-NZ" b="0" baseline="0" dirty="0" smtClean="0"/>
              <a:t> </a:t>
            </a:r>
            <a:r>
              <a:rPr lang="en-NZ" b="1" baseline="0" dirty="0" smtClean="0"/>
              <a:t>best practice</a:t>
            </a:r>
            <a:r>
              <a:rPr lang="en-NZ" b="0" baseline="0" dirty="0" smtClean="0"/>
              <a:t> availability set configuration and explain how availability sets work at a high level (will cover more in next slides)</a:t>
            </a:r>
          </a:p>
          <a:p>
            <a:pPr defTabSz="721141">
              <a:lnSpc>
                <a:spcPct val="90000"/>
              </a:lnSpc>
              <a:spcAft>
                <a:spcPts val="263"/>
              </a:spcAft>
              <a:defRPr/>
            </a:pPr>
            <a:endParaRPr lang="en-NZ" b="0" baseline="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marL="171450" indent="-171450" defTabSz="721141">
              <a:lnSpc>
                <a:spcPct val="90000"/>
              </a:lnSpc>
              <a:spcAft>
                <a:spcPts val="263"/>
              </a:spcAft>
              <a:buFont typeface="Arial" panose="020B0604020202020204" pitchFamily="34" charset="0"/>
              <a:buChar char="•"/>
              <a:defRPr/>
            </a:pPr>
            <a:r>
              <a:rPr lang="en-CA" dirty="0" smtClean="0"/>
              <a:t>To provide redundancy to your application, we recommend that you group two or more virtual machines in an Availability Set</a:t>
            </a:r>
          </a:p>
          <a:p>
            <a:pPr marL="171450" indent="-171450" defTabSz="721141">
              <a:lnSpc>
                <a:spcPct val="90000"/>
              </a:lnSpc>
              <a:spcAft>
                <a:spcPts val="263"/>
              </a:spcAft>
              <a:buFont typeface="Arial" panose="020B0604020202020204" pitchFamily="34" charset="0"/>
              <a:buChar char="•"/>
              <a:defRPr/>
            </a:pPr>
            <a:r>
              <a:rPr lang="en-CA" dirty="0" smtClean="0"/>
              <a:t>This configuration ensures that during either a planned or unplanned maintenance event, at least one virtual machine will be available and meet the 99.95% Azure SLA</a:t>
            </a:r>
          </a:p>
          <a:p>
            <a:pPr marL="171450" indent="-171450" defTabSz="721141">
              <a:lnSpc>
                <a:spcPct val="90000"/>
              </a:lnSpc>
              <a:spcAft>
                <a:spcPts val="263"/>
              </a:spcAft>
              <a:buFont typeface="Arial" panose="020B0604020202020204" pitchFamily="34" charset="0"/>
              <a:buChar char="•"/>
              <a:defRPr/>
            </a:pPr>
            <a:r>
              <a:rPr lang="en-CA" b="0" baseline="0" dirty="0" smtClean="0"/>
              <a:t>Virtual machines in the same availability set are distributed across fault &amp; update domains ensuring that at least </a:t>
            </a:r>
            <a:r>
              <a:rPr lang="en-CA" b="1" baseline="0" dirty="0" smtClean="0"/>
              <a:t>ONE</a:t>
            </a:r>
            <a:r>
              <a:rPr lang="en-CA" b="0" baseline="0" dirty="0" smtClean="0"/>
              <a:t> of the machines in the availability set is running during either planned or unplanned maintenance.</a:t>
            </a:r>
          </a:p>
          <a:p>
            <a:pPr marL="171450" indent="-171450" defTabSz="721141">
              <a:lnSpc>
                <a:spcPct val="90000"/>
              </a:lnSpc>
              <a:spcAft>
                <a:spcPts val="263"/>
              </a:spcAft>
              <a:buFont typeface="Arial" panose="020B0604020202020204" pitchFamily="34" charset="0"/>
              <a:buChar char="•"/>
              <a:defRPr/>
            </a:pPr>
            <a:r>
              <a:rPr lang="en-CA" b="0" baseline="0" dirty="0" smtClean="0"/>
              <a:t>By placing services in an Availability Set, Azure knows to distribute these across upgrade and fault domains which means they will be maintained separately and sequentially.</a:t>
            </a:r>
          </a:p>
          <a:p>
            <a:pPr marL="171450" indent="-171450" defTabSz="721141">
              <a:lnSpc>
                <a:spcPct val="90000"/>
              </a:lnSpc>
              <a:spcAft>
                <a:spcPts val="263"/>
              </a:spcAft>
              <a:buFont typeface="Arial" panose="020B0604020202020204" pitchFamily="34" charset="0"/>
              <a:buChar char="•"/>
              <a:defRPr/>
            </a:pPr>
            <a:r>
              <a:rPr lang="en-NZ" dirty="0" smtClean="0"/>
              <a:t>Availability sets</a:t>
            </a:r>
            <a:r>
              <a:rPr lang="en-NZ" baseline="0" dirty="0" smtClean="0"/>
              <a:t> tell the Fabric Controller to place VMs in the same set on different racks for faults and in separate upgrade domains for updates. </a:t>
            </a:r>
          </a:p>
          <a:p>
            <a:pPr marL="171450" indent="-171450" defTabSz="721141">
              <a:lnSpc>
                <a:spcPct val="90000"/>
              </a:lnSpc>
              <a:spcAft>
                <a:spcPts val="263"/>
              </a:spcAft>
              <a:buFont typeface="Arial" panose="020B0604020202020204" pitchFamily="34" charset="0"/>
              <a:buChar char="•"/>
              <a:defRPr/>
            </a:pPr>
            <a:r>
              <a:rPr lang="en-NZ" baseline="0" dirty="0" smtClean="0"/>
              <a:t>This essentially tells the FC not to take the guest OS down of all VMs in the same set for host updates. </a:t>
            </a:r>
            <a:endParaRPr lang="en-NZ" dirty="0" smtClean="0"/>
          </a:p>
          <a:p>
            <a:pPr marL="171450" indent="-171450" defTabSz="721141">
              <a:lnSpc>
                <a:spcPct val="90000"/>
              </a:lnSpc>
              <a:spcAft>
                <a:spcPts val="263"/>
              </a:spcAft>
              <a:buFont typeface="Arial" panose="020B0604020202020204" pitchFamily="34" charset="0"/>
              <a:buChar char="•"/>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azure.microsoft.com/en-us/documentation/articles/virtual-machines-manage-availability/</a:t>
            </a:r>
            <a:endParaRPr lang="en-NZ"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8069591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92687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41697013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marL="0" marR="0" indent="0" algn="l" defTabSz="924458" rtl="0" eaLnBrk="1" fontAlgn="auto" latinLnBrk="0" hangingPunct="1">
              <a:lnSpc>
                <a:spcPct val="100000"/>
              </a:lnSpc>
              <a:spcBef>
                <a:spcPts val="0"/>
              </a:spcBef>
              <a:spcAft>
                <a:spcPts val="0"/>
              </a:spcAft>
              <a:buClrTx/>
              <a:buSzTx/>
              <a:buFontTx/>
              <a:buNone/>
              <a:tabLst/>
              <a:defRPr/>
            </a:pPr>
            <a:r>
              <a:rPr lang="en-US" b="0" baseline="0" dirty="0" smtClean="0"/>
              <a:t>Explain that basic round-robin load balancing is free in Azure, however Traffic Manager is a more robust solution that includes failover and configurable load balancing at a very low cost</a:t>
            </a:r>
          </a:p>
          <a:p>
            <a:pPr marL="0" marR="0" indent="0" algn="l" defTabSz="924458"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24458" rtl="0" eaLnBrk="1" fontAlgn="auto" latinLnBrk="0" hangingPunct="1">
              <a:lnSpc>
                <a:spcPct val="100000"/>
              </a:lnSpc>
              <a:spcBef>
                <a:spcPts val="0"/>
              </a:spcBef>
              <a:spcAft>
                <a:spcPts val="0"/>
              </a:spcAft>
              <a:buClrTx/>
              <a:buSzTx/>
              <a:buFontTx/>
              <a:buNone/>
              <a:tabLst/>
              <a:defRPr/>
            </a:pPr>
            <a:r>
              <a:rPr lang="en-US" b="1" baseline="0" dirty="0" smtClean="0"/>
              <a:t>Notes</a:t>
            </a:r>
          </a:p>
          <a:p>
            <a:pPr marL="171450" marR="0" indent="-171450" algn="l" defTabSz="9244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b="1" baseline="0" dirty="0" smtClean="0"/>
              <a:t>Failover: </a:t>
            </a:r>
            <a:r>
              <a:rPr lang="en-CA" b="0" baseline="0" dirty="0" smtClean="0"/>
              <a:t>Select Failover when you have endpoints in the same or different Azure datacenters (known as regions in the Management Portal) and want to use a primary endpoint for all traffic, but provide backups in case the primary or the backup endpoints are unavailable. For more information, see Failover load balancing method.</a:t>
            </a:r>
          </a:p>
          <a:p>
            <a:pPr marL="171450" marR="0" indent="-171450" algn="l" defTabSz="9244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b="1" baseline="0" dirty="0" smtClean="0"/>
              <a:t>Round Robin: </a:t>
            </a:r>
            <a:r>
              <a:rPr lang="en-CA" b="0" baseline="0" dirty="0" smtClean="0"/>
              <a:t>Select Round Robin when you want to distribute load across a set of endpoints in the same datacenter or across different datacenters. For more information, see Round Robin load balancing method.</a:t>
            </a:r>
          </a:p>
          <a:p>
            <a:pPr marL="171450" marR="0" indent="-171450" algn="l" defTabSz="9244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b="1" baseline="0" dirty="0" smtClean="0"/>
              <a:t>Performance: </a:t>
            </a:r>
            <a:r>
              <a:rPr lang="en-CA" b="0" baseline="0" dirty="0" smtClean="0"/>
              <a:t>Select Performance when you have endpoints in different geographic locations and you want requesting clients to use the "closest" endpoint in terms of the lowest latency. For more information, see Performance load balancing method.</a:t>
            </a:r>
          </a:p>
          <a:p>
            <a:pPr marL="0" marR="0" indent="0" algn="l" defTabSz="9244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b="1" baseline="0" dirty="0" smtClean="0"/>
          </a:p>
          <a:p>
            <a:pPr marL="0" marR="0" indent="0" algn="l" defTabSz="924458" rtl="0" eaLnBrk="1" fontAlgn="auto" latinLnBrk="0" hangingPunct="1">
              <a:lnSpc>
                <a:spcPct val="100000"/>
              </a:lnSpc>
              <a:spcBef>
                <a:spcPts val="0"/>
              </a:spcBef>
              <a:spcAft>
                <a:spcPts val="0"/>
              </a:spcAft>
              <a:buClrTx/>
              <a:buSzTx/>
              <a:buFont typeface="Arial" panose="020B0604020202020204" pitchFamily="34" charset="0"/>
              <a:buNone/>
              <a:tabLst/>
              <a:defRPr/>
            </a:pPr>
            <a:r>
              <a:rPr lang="en-CA" b="1" baseline="0" dirty="0" smtClean="0"/>
              <a:t>Reading</a:t>
            </a:r>
          </a:p>
          <a:p>
            <a:pPr marL="0" marR="0" indent="0" algn="l" defTabSz="924458" rtl="0" eaLnBrk="1" fontAlgn="auto" latinLnBrk="0" hangingPunct="1">
              <a:lnSpc>
                <a:spcPct val="100000"/>
              </a:lnSpc>
              <a:spcBef>
                <a:spcPts val="0"/>
              </a:spcBef>
              <a:spcAft>
                <a:spcPts val="0"/>
              </a:spcAft>
              <a:buClrTx/>
              <a:buSzTx/>
              <a:buFont typeface="Arial" panose="020B0604020202020204" pitchFamily="34" charset="0"/>
              <a:buNone/>
              <a:tabLst/>
              <a:defRPr/>
            </a:pPr>
            <a:r>
              <a:rPr lang="en-CA" b="0" baseline="0" dirty="0" smtClean="0"/>
              <a:t>https://msdn.microsoft.com/library/azure/dn339010.aspx</a:t>
            </a:r>
          </a:p>
          <a:p>
            <a:pPr marL="0" marR="0" indent="0" algn="l" defTabSz="9244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b="0" baseline="0" dirty="0" smtClean="0"/>
          </a:p>
          <a:p>
            <a:pPr marL="171450" marR="0" indent="-171450" algn="l" defTabSz="92445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41391629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9</a:t>
            </a:fld>
            <a:endParaRPr lang="en-US"/>
          </a:p>
        </p:txBody>
      </p:sp>
    </p:spTree>
    <p:extLst>
      <p:ext uri="{BB962C8B-B14F-4D97-AF65-F5344CB8AC3E}">
        <p14:creationId xmlns:p14="http://schemas.microsoft.com/office/powerpoint/2010/main" val="8942426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33055597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41</a:t>
            </a:fld>
            <a:endParaRPr lang="en-US"/>
          </a:p>
        </p:txBody>
      </p:sp>
    </p:spTree>
    <p:extLst>
      <p:ext uri="{BB962C8B-B14F-4D97-AF65-F5344CB8AC3E}">
        <p14:creationId xmlns:p14="http://schemas.microsoft.com/office/powerpoint/2010/main" val="415241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17890608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Simply explain that it’s very easy to scale up a VM through the portal simply by configuring a larger machine size.</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You can easily change between</a:t>
            </a:r>
            <a:r>
              <a:rPr lang="en-US" baseline="0" dirty="0" smtClean="0"/>
              <a:t> basic &amp; standard</a:t>
            </a:r>
          </a:p>
          <a:p>
            <a:pPr marL="171450" indent="-171450">
              <a:buFont typeface="Arial" panose="020B0604020202020204" pitchFamily="34" charset="0"/>
              <a:buChar char="•"/>
            </a:pPr>
            <a:r>
              <a:rPr lang="en-US" baseline="0" dirty="0" smtClean="0"/>
              <a:t>You can scale up to G (Godzilla) class or down to a shared core and very little memory indeed depending on your needs</a:t>
            </a:r>
          </a:p>
          <a:p>
            <a:pPr marL="171450" indent="-171450">
              <a:buFont typeface="Arial" panose="020B0604020202020204" pitchFamily="34" charset="0"/>
              <a:buChar char="•"/>
            </a:pPr>
            <a:r>
              <a:rPr lang="en-US" baseline="0" dirty="0" smtClean="0"/>
              <a:t>Changing the tier or size will result in downtime as a new system is prepared, the disks are detached and re-attached to the new system and it is then booted and swapped for your current syst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3</a:t>
            </a:fld>
            <a:endParaRPr lang="en-US"/>
          </a:p>
        </p:txBody>
      </p:sp>
    </p:spTree>
    <p:extLst>
      <p:ext uri="{BB962C8B-B14F-4D97-AF65-F5344CB8AC3E}">
        <p14:creationId xmlns:p14="http://schemas.microsoft.com/office/powerpoint/2010/main" val="24786952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that you can also change a VMs scale through </a:t>
            </a:r>
            <a:r>
              <a:rPr lang="en-US" b="0" baseline="0" dirty="0" err="1" smtClean="0"/>
              <a:t>Powershell</a:t>
            </a:r>
            <a:r>
              <a:rPr lang="en-US" b="0" baseline="0" dirty="0" smtClean="0"/>
              <a:t> (Windows only) with the Set-</a:t>
            </a:r>
            <a:r>
              <a:rPr lang="en-US" b="0" baseline="0" dirty="0" err="1" smtClean="0"/>
              <a:t>AzureVMSize</a:t>
            </a:r>
            <a:r>
              <a:rPr lang="en-US" b="0" baseline="0" dirty="0" smtClean="0"/>
              <a:t> command.</a:t>
            </a:r>
          </a:p>
        </p:txBody>
      </p:sp>
      <p:sp>
        <p:nvSpPr>
          <p:cNvPr id="4" name="Slide Number Placeholder 3"/>
          <p:cNvSpPr>
            <a:spLocks noGrp="1"/>
          </p:cNvSpPr>
          <p:nvPr>
            <p:ph type="sldNum" sz="quarter" idx="10"/>
          </p:nvPr>
        </p:nvSpPr>
        <p:spPr/>
        <p:txBody>
          <a:bodyPr/>
          <a:lstStyle/>
          <a:p>
            <a:fld id="{2C52CFDC-D2D5-4B9F-BA75-89F771E01AEB}" type="slidenum">
              <a:rPr lang="en-US" smtClean="0"/>
              <a:t>44</a:t>
            </a:fld>
            <a:endParaRPr lang="en-US"/>
          </a:p>
        </p:txBody>
      </p:sp>
    </p:spTree>
    <p:extLst>
      <p:ext uri="{BB962C8B-B14F-4D97-AF65-F5344CB8AC3E}">
        <p14:creationId xmlns:p14="http://schemas.microsoft.com/office/powerpoint/2010/main" val="11591670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that you can also change a VMs scale (and many other properties of a VM) through the HTTP based Azure Service Management API or through one of the many SDKs including .NET, PHP, Python and more.</a:t>
            </a:r>
          </a:p>
        </p:txBody>
      </p:sp>
      <p:sp>
        <p:nvSpPr>
          <p:cNvPr id="4" name="Slide Number Placeholder 3"/>
          <p:cNvSpPr>
            <a:spLocks noGrp="1"/>
          </p:cNvSpPr>
          <p:nvPr>
            <p:ph type="sldNum" sz="quarter" idx="10"/>
          </p:nvPr>
        </p:nvSpPr>
        <p:spPr/>
        <p:txBody>
          <a:bodyPr/>
          <a:lstStyle/>
          <a:p>
            <a:fld id="{2C52CFDC-D2D5-4B9F-BA75-89F771E01AEB}" type="slidenum">
              <a:rPr lang="en-US" smtClean="0"/>
              <a:t>45</a:t>
            </a:fld>
            <a:endParaRPr lang="en-US"/>
          </a:p>
        </p:txBody>
      </p:sp>
    </p:spTree>
    <p:extLst>
      <p:ext uri="{BB962C8B-B14F-4D97-AF65-F5344CB8AC3E}">
        <p14:creationId xmlns:p14="http://schemas.microsoft.com/office/powerpoint/2010/main" val="24250050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X Canada Custom Demo: </a:t>
            </a:r>
            <a:r>
              <a:rPr lang="en-US" b="0" dirty="0" smtClean="0"/>
              <a:t>see</a:t>
            </a:r>
            <a:r>
              <a:rPr lang="en-US" b="0" baseline="0" dirty="0" smtClean="0"/>
              <a:t> Demos\002 - </a:t>
            </a:r>
            <a:r>
              <a:rPr lang="en-US" b="0" baseline="0" dirty="0" err="1" smtClean="0"/>
              <a:t>Autoscaling</a:t>
            </a:r>
            <a:r>
              <a:rPr lang="en-US" b="0" baseline="0" dirty="0" smtClean="0"/>
              <a:t> VM\</a:t>
            </a:r>
            <a:r>
              <a:rPr lang="en-US" b="0" baseline="0" dirty="0" err="1" smtClean="0"/>
              <a:t>Autoscaling</a:t>
            </a:r>
            <a:r>
              <a:rPr lang="en-US" b="0" baseline="0" dirty="0" smtClean="0"/>
              <a:t> VM.html</a:t>
            </a:r>
          </a:p>
        </p:txBody>
      </p:sp>
      <p:sp>
        <p:nvSpPr>
          <p:cNvPr id="4" name="Slide Number Placeholder 3"/>
          <p:cNvSpPr>
            <a:spLocks noGrp="1"/>
          </p:cNvSpPr>
          <p:nvPr>
            <p:ph type="sldNum" sz="quarter" idx="10"/>
          </p:nvPr>
        </p:nvSpPr>
        <p:spPr/>
        <p:txBody>
          <a:bodyPr/>
          <a:lstStyle/>
          <a:p>
            <a:fld id="{2C52CFDC-D2D5-4B9F-BA75-89F771E01AEB}" type="slidenum">
              <a:rPr lang="en-US" smtClean="0"/>
              <a:t>47</a:t>
            </a:fld>
            <a:endParaRPr lang="en-US"/>
          </a:p>
        </p:txBody>
      </p:sp>
    </p:spTree>
    <p:extLst>
      <p:ext uri="{BB962C8B-B14F-4D97-AF65-F5344CB8AC3E}">
        <p14:creationId xmlns:p14="http://schemas.microsoft.com/office/powerpoint/2010/main" val="35691344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8</a:t>
            </a:fld>
            <a:endParaRPr lang="en-US"/>
          </a:p>
        </p:txBody>
      </p:sp>
    </p:spTree>
    <p:extLst>
      <p:ext uri="{BB962C8B-B14F-4D97-AF65-F5344CB8AC3E}">
        <p14:creationId xmlns:p14="http://schemas.microsoft.com/office/powerpoint/2010/main" val="9975729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85278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41680318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17321895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3</a:t>
            </a:fld>
            <a:endParaRPr lang="en-US"/>
          </a:p>
        </p:txBody>
      </p:sp>
    </p:spTree>
    <p:extLst>
      <p:ext uri="{BB962C8B-B14F-4D97-AF65-F5344CB8AC3E}">
        <p14:creationId xmlns:p14="http://schemas.microsoft.com/office/powerpoint/2010/main" val="33657239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4</a:t>
            </a:fld>
            <a:endParaRPr lang="en-US"/>
          </a:p>
        </p:txBody>
      </p:sp>
    </p:spTree>
    <p:extLst>
      <p:ext uri="{BB962C8B-B14F-4D97-AF65-F5344CB8AC3E}">
        <p14:creationId xmlns:p14="http://schemas.microsoft.com/office/powerpoint/2010/main" val="26086401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r>
              <a:rPr lang="en-US" baseline="0" dirty="0" smtClean="0"/>
              <a:t> Notes:</a:t>
            </a:r>
          </a:p>
          <a:p>
            <a:pPr marL="171450" indent="-171450">
              <a:buFont typeface="Arial" panose="020B0604020202020204" pitchFamily="34" charset="0"/>
              <a:buChar char="•"/>
            </a:pPr>
            <a:r>
              <a:rPr lang="en-US" baseline="0" dirty="0" err="1" smtClean="0"/>
              <a:t>Docker</a:t>
            </a:r>
            <a:r>
              <a:rPr lang="en-US" baseline="0" dirty="0" smtClean="0"/>
              <a:t> uses a client-server architecture. </a:t>
            </a:r>
            <a:r>
              <a:rPr lang="en-US" baseline="0" dirty="0" err="1" smtClean="0"/>
              <a:t>Docker</a:t>
            </a:r>
            <a:r>
              <a:rPr lang="en-US" baseline="0" dirty="0" smtClean="0"/>
              <a:t> client talks to the </a:t>
            </a:r>
            <a:r>
              <a:rPr lang="en-US" baseline="0" dirty="0" err="1" smtClean="0"/>
              <a:t>Docker</a:t>
            </a:r>
            <a:r>
              <a:rPr lang="en-US" baseline="0" dirty="0" smtClean="0"/>
              <a:t> daemon on your target machine. The daemon builds, runs and deploys containers on the host machine. </a:t>
            </a:r>
          </a:p>
          <a:p>
            <a:pPr marL="171450" indent="-171450">
              <a:buFont typeface="Arial" panose="020B0604020202020204" pitchFamily="34" charset="0"/>
              <a:buChar char="•"/>
            </a:pPr>
            <a:r>
              <a:rPr lang="en-US" baseline="0" dirty="0" err="1" smtClean="0"/>
              <a:t>Docker</a:t>
            </a:r>
            <a:r>
              <a:rPr lang="en-US" baseline="0" dirty="0" smtClean="0"/>
              <a:t> client is the primary interface to </a:t>
            </a:r>
            <a:r>
              <a:rPr lang="en-US" baseline="0" dirty="0" err="1" smtClean="0"/>
              <a:t>Docker</a:t>
            </a:r>
            <a:r>
              <a:rPr lang="en-US" baseline="0" dirty="0" smtClean="0"/>
              <a:t>.</a:t>
            </a:r>
          </a:p>
          <a:p>
            <a:pPr marL="171450" indent="-171450">
              <a:buFont typeface="Arial" panose="020B0604020202020204" pitchFamily="34" charset="0"/>
              <a:buChar char="•"/>
            </a:pPr>
            <a:r>
              <a:rPr lang="en-US" baseline="0" dirty="0" smtClean="0"/>
              <a:t>A </a:t>
            </a:r>
            <a:r>
              <a:rPr lang="en-US" baseline="0" dirty="0" err="1" smtClean="0"/>
              <a:t>Docker</a:t>
            </a:r>
            <a:r>
              <a:rPr lang="en-US" baseline="0" dirty="0" smtClean="0"/>
              <a:t> image is a read-only template for containers e.g. a Linux distribution with Apache.</a:t>
            </a:r>
          </a:p>
          <a:p>
            <a:pPr marL="171450" indent="-171450">
              <a:buFont typeface="Arial" panose="020B0604020202020204" pitchFamily="34" charset="0"/>
              <a:buChar char="•"/>
            </a:pPr>
            <a:r>
              <a:rPr lang="en-US" baseline="0" dirty="0" smtClean="0"/>
              <a:t>A </a:t>
            </a:r>
            <a:r>
              <a:rPr lang="en-US" baseline="0" dirty="0" err="1" smtClean="0"/>
              <a:t>Docker</a:t>
            </a:r>
            <a:r>
              <a:rPr lang="en-US" baseline="0" dirty="0" smtClean="0"/>
              <a:t> registry holds images. </a:t>
            </a:r>
            <a:r>
              <a:rPr lang="en-US" baseline="0" dirty="0" err="1" smtClean="0"/>
              <a:t>Docker</a:t>
            </a:r>
            <a:r>
              <a:rPr lang="en-US" baseline="0" dirty="0" smtClean="0"/>
              <a:t> Hub is the public </a:t>
            </a:r>
            <a:r>
              <a:rPr lang="en-US" baseline="0" dirty="0" err="1" smtClean="0"/>
              <a:t>Docker</a:t>
            </a:r>
            <a:r>
              <a:rPr lang="en-US" baseline="0" dirty="0" smtClean="0"/>
              <a:t> registry and contains a huge collection of images. </a:t>
            </a:r>
          </a:p>
          <a:p>
            <a:pPr marL="171450" indent="-171450">
              <a:buFont typeface="Arial" panose="020B0604020202020204" pitchFamily="34" charset="0"/>
              <a:buChar char="•"/>
            </a:pPr>
            <a:r>
              <a:rPr lang="en-US" baseline="0" dirty="0" smtClean="0"/>
              <a:t>A </a:t>
            </a:r>
            <a:r>
              <a:rPr lang="en-US" baseline="0" dirty="0" err="1" smtClean="0"/>
              <a:t>Docker</a:t>
            </a:r>
            <a:r>
              <a:rPr lang="en-US" baseline="0" dirty="0" smtClean="0"/>
              <a:t> container is created from an image. Containers can be run, started, moved, etc… A container is isolated and secure.  </a:t>
            </a:r>
          </a:p>
          <a:p>
            <a:pPr marL="171450" indent="-171450">
              <a:buFont typeface="Arial" panose="020B0604020202020204" pitchFamily="34" charset="0"/>
              <a:buChar char="•"/>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6</a:t>
            </a:fld>
            <a:endParaRPr lang="en-US"/>
          </a:p>
        </p:txBody>
      </p:sp>
    </p:spTree>
    <p:extLst>
      <p:ext uri="{BB962C8B-B14F-4D97-AF65-F5344CB8AC3E}">
        <p14:creationId xmlns:p14="http://schemas.microsoft.com/office/powerpoint/2010/main" val="1692186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X Canada Custom Demo: </a:t>
            </a:r>
            <a:r>
              <a:rPr lang="en-US" b="0" dirty="0" smtClean="0"/>
              <a:t>see</a:t>
            </a:r>
            <a:r>
              <a:rPr lang="en-US" b="0" baseline="0" dirty="0" smtClean="0"/>
              <a:t> </a:t>
            </a:r>
            <a:r>
              <a:rPr lang="en-US" b="0" baseline="0" dirty="0" smtClean="0"/>
              <a:t>Demos\003 - Creating </a:t>
            </a:r>
            <a:r>
              <a:rPr lang="en-US" b="0" baseline="0" dirty="0" err="1" smtClean="0"/>
              <a:t>Docker</a:t>
            </a:r>
            <a:r>
              <a:rPr lang="en-US" b="0" baseline="0" dirty="0" smtClean="0"/>
              <a:t> LAMP Stack\</a:t>
            </a:r>
            <a:r>
              <a:rPr lang="en-US" b="0" baseline="0" dirty="0" err="1" smtClean="0"/>
              <a:t>Docker</a:t>
            </a:r>
            <a:r>
              <a:rPr lang="en-US" b="0" baseline="0" dirty="0" smtClean="0"/>
              <a:t> LAMP Stack.html</a:t>
            </a:r>
            <a:endParaRPr lang="en-US" b="0"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57</a:t>
            </a:fld>
            <a:endParaRPr lang="en-US"/>
          </a:p>
        </p:txBody>
      </p:sp>
    </p:spTree>
    <p:extLst>
      <p:ext uri="{BB962C8B-B14F-4D97-AF65-F5344CB8AC3E}">
        <p14:creationId xmlns:p14="http://schemas.microsoft.com/office/powerpoint/2010/main" val="14278119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Azur</a:t>
            </a:r>
            <a:r>
              <a:rPr lang="en-US" baseline="0" dirty="0" smtClean="0"/>
              <a:t>e VMs</a:t>
            </a:r>
            <a:r>
              <a:rPr lang="en-US" dirty="0" smtClean="0"/>
              <a:t> is just one of many services in Azure</a:t>
            </a:r>
            <a:endParaRPr lang="en-CA"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8</a:t>
            </a:fld>
            <a:endParaRPr lang="en-US"/>
          </a:p>
        </p:txBody>
      </p:sp>
    </p:spTree>
    <p:extLst>
      <p:ext uri="{BB962C8B-B14F-4D97-AF65-F5344CB8AC3E}">
        <p14:creationId xmlns:p14="http://schemas.microsoft.com/office/powerpoint/2010/main" val="10928754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asides from</a:t>
            </a:r>
            <a:r>
              <a:rPr lang="en-US" baseline="0" dirty="0" smtClean="0"/>
              <a:t> Virtual Machines (IaaS) most of Azure is PaaS which means you can treat it like a set of building blocks that you can use to construct your product while focusing on your core business by not developing solutions such as an account solution (AD), security (AD, Multifactor Authentication), Mobile back end (Mobile services), Notification systems (Notification Hubs) etc.</a:t>
            </a:r>
            <a:endParaRPr lang="en-CA" dirty="0" smtClean="0"/>
          </a:p>
          <a:p>
            <a:endParaRPr lang="en-US" dirty="0" smtClean="0"/>
          </a:p>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59</a:t>
            </a:fld>
            <a:endParaRPr lang="en-US"/>
          </a:p>
        </p:txBody>
      </p:sp>
    </p:spTree>
    <p:extLst>
      <p:ext uri="{BB962C8B-B14F-4D97-AF65-F5344CB8AC3E}">
        <p14:creationId xmlns:p14="http://schemas.microsoft.com/office/powerpoint/2010/main" val="303540524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Azur</a:t>
            </a:r>
            <a:r>
              <a:rPr lang="en-US" baseline="0" dirty="0" smtClean="0"/>
              <a:t>e W</a:t>
            </a:r>
            <a:r>
              <a:rPr lang="en-US" dirty="0" smtClean="0"/>
              <a:t>ebsites isn’t the only Platform as a Service offering on Azure, in fact we are the</a:t>
            </a:r>
            <a:r>
              <a:rPr lang="en-US" baseline="0" dirty="0" smtClean="0"/>
              <a:t> leaders in PaaS offerings</a:t>
            </a:r>
            <a:endParaRPr lang="en-CA"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0</a:t>
            </a:fld>
            <a:endParaRPr lang="en-US"/>
          </a:p>
        </p:txBody>
      </p:sp>
    </p:spTree>
    <p:extLst>
      <p:ext uri="{BB962C8B-B14F-4D97-AF65-F5344CB8AC3E}">
        <p14:creationId xmlns:p14="http://schemas.microsoft.com/office/powerpoint/2010/main" val="236211784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5/20/2015 4:1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9615465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beyond the free trial</a:t>
            </a:r>
            <a:r>
              <a:rPr lang="en-US" baseline="0" dirty="0" smtClean="0"/>
              <a:t> we have a pretty awesome program for startups</a:t>
            </a:r>
            <a:endParaRPr lang="en-CA"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2</a:t>
            </a:fld>
            <a:endParaRPr lang="en-US"/>
          </a:p>
        </p:txBody>
      </p:sp>
    </p:spTree>
    <p:extLst>
      <p:ext uri="{BB962C8B-B14F-4D97-AF65-F5344CB8AC3E}">
        <p14:creationId xmlns:p14="http://schemas.microsoft.com/office/powerpoint/2010/main" val="287432350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BizSpark is the name</a:t>
            </a:r>
            <a:r>
              <a:rPr lang="en-US" baseline="0" dirty="0" smtClean="0"/>
              <a:t> of the program (set of offers) we have for tech startups</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1" baseline="0" dirty="0" smtClean="0"/>
              <a:t>Video:</a:t>
            </a:r>
          </a:p>
          <a:p>
            <a:pPr marL="171450" indent="-171450">
              <a:buFont typeface="Arial" panose="020B0604020202020204" pitchFamily="34" charset="0"/>
              <a:buChar char="•"/>
            </a:pPr>
            <a:r>
              <a:rPr lang="en-US" b="0" baseline="0" dirty="0" smtClean="0"/>
              <a:t>Watch this video (http://aka.ms/bizsparkvid) to get familiar with BizSpark and our offers</a:t>
            </a:r>
            <a:endParaRPr lang="en-CA" b="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3</a:t>
            </a:fld>
            <a:endParaRPr lang="en-US"/>
          </a:p>
        </p:txBody>
      </p:sp>
    </p:spTree>
    <p:extLst>
      <p:ext uri="{BB962C8B-B14F-4D97-AF65-F5344CB8AC3E}">
        <p14:creationId xmlns:p14="http://schemas.microsoft.com/office/powerpoint/2010/main" val="134394345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lgn="l">
              <a:buFont typeface="Arial" panose="020B0604020202020204" pitchFamily="34" charset="0"/>
              <a:buChar char="•"/>
            </a:pPr>
            <a:r>
              <a:rPr lang="en-US" dirty="0" smtClean="0"/>
              <a:t>Explain that BizSpark is for tech startups who are developing 1</a:t>
            </a:r>
            <a:r>
              <a:rPr lang="en-US" baseline="30000" dirty="0" smtClean="0"/>
              <a:t>st</a:t>
            </a:r>
            <a:r>
              <a:rPr lang="en-US" dirty="0" smtClean="0"/>
              <a:t> party IP/Hardware/Software.</a:t>
            </a:r>
            <a:endParaRPr lang="en-US" baseline="0" dirty="0" smtClean="0"/>
          </a:p>
          <a:p>
            <a:pPr marL="171450" indent="-171450" algn="l">
              <a:buFont typeface="Arial" panose="020B0604020202020204" pitchFamily="34" charset="0"/>
              <a:buChar char="•"/>
            </a:pPr>
            <a:r>
              <a:rPr lang="en-US" baseline="0" dirty="0" smtClean="0"/>
              <a:t>The #1 reason startups are denied their application to BizSpark is that they are consultants/contract workers etc.</a:t>
            </a:r>
          </a:p>
          <a:p>
            <a:pPr marL="171450" indent="-171450">
              <a:buFont typeface="Arial" panose="020B0604020202020204" pitchFamily="34" charset="0"/>
              <a:buChar char="•"/>
            </a:pPr>
            <a:r>
              <a:rPr lang="en-US" baseline="0" dirty="0" smtClean="0"/>
              <a:t>In short if you company is developing something it will sell (not on a contract for someone else) then you are set.</a:t>
            </a:r>
          </a:p>
        </p:txBody>
      </p:sp>
      <p:sp>
        <p:nvSpPr>
          <p:cNvPr id="4" name="Slide Number Placeholder 3"/>
          <p:cNvSpPr>
            <a:spLocks noGrp="1"/>
          </p:cNvSpPr>
          <p:nvPr>
            <p:ph type="sldNum" sz="quarter" idx="10"/>
          </p:nvPr>
        </p:nvSpPr>
        <p:spPr/>
        <p:txBody>
          <a:bodyPr/>
          <a:lstStyle/>
          <a:p>
            <a:fld id="{2C52CFDC-D2D5-4B9F-BA75-89F771E01AEB}" type="slidenum">
              <a:rPr lang="en-US" smtClean="0"/>
              <a:t>64</a:t>
            </a:fld>
            <a:endParaRPr lang="en-US"/>
          </a:p>
        </p:txBody>
      </p:sp>
    </p:spTree>
    <p:extLst>
      <p:ext uri="{BB962C8B-B14F-4D97-AF65-F5344CB8AC3E}">
        <p14:creationId xmlns:p14="http://schemas.microsoft.com/office/powerpoint/2010/main" val="4459328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these are the common reasons a</a:t>
            </a:r>
            <a:r>
              <a:rPr lang="en-US" baseline="0" dirty="0" smtClean="0"/>
              <a:t> startups a</a:t>
            </a:r>
            <a:r>
              <a:rPr lang="en-US" dirty="0" smtClean="0"/>
              <a:t>pplication is denied from BizSpark</a:t>
            </a:r>
          </a:p>
          <a:p>
            <a:pPr marL="171450" indent="-171450">
              <a:buFont typeface="Arial" panose="020B0604020202020204" pitchFamily="34" charset="0"/>
              <a:buChar char="•"/>
            </a:pPr>
            <a:r>
              <a:rPr lang="en-US" baseline="0" dirty="0" smtClean="0"/>
              <a:t>We get asked “what if a consulting/contracting company otherwise meets all the requirements as they are now working on a 1</a:t>
            </a:r>
            <a:r>
              <a:rPr lang="en-US" baseline="30000" dirty="0" smtClean="0"/>
              <a:t>st</a:t>
            </a:r>
            <a:r>
              <a:rPr lang="en-US" baseline="0" dirty="0" smtClean="0"/>
              <a:t> party app. The answer is connect with us (bizsparkca@Microsoft.com) as we can make an exception provided the benefits we give them only apply to that work.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5</a:t>
            </a:fld>
            <a:endParaRPr lang="en-US"/>
          </a:p>
        </p:txBody>
      </p:sp>
    </p:spTree>
    <p:extLst>
      <p:ext uri="{BB962C8B-B14F-4D97-AF65-F5344CB8AC3E}">
        <p14:creationId xmlns:p14="http://schemas.microsoft.com/office/powerpoint/2010/main" val="5690791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the core of the benefits</a:t>
            </a:r>
            <a:r>
              <a:rPr lang="en-US" baseline="0" dirty="0" smtClean="0"/>
              <a:t> include cloud credits, free MS software &amp; access to a loaner pool of devices for </a:t>
            </a:r>
            <a:r>
              <a:rPr lang="en-US" baseline="0" dirty="0" err="1" smtClean="0"/>
              <a:t>dev</a:t>
            </a:r>
            <a:r>
              <a:rPr lang="en-US" baseline="0" dirty="0" smtClean="0"/>
              <a:t>/test.</a:t>
            </a:r>
          </a:p>
        </p:txBody>
      </p:sp>
      <p:sp>
        <p:nvSpPr>
          <p:cNvPr id="4" name="Slide Number Placeholder 3"/>
          <p:cNvSpPr>
            <a:spLocks noGrp="1"/>
          </p:cNvSpPr>
          <p:nvPr>
            <p:ph type="sldNum" sz="quarter" idx="10"/>
          </p:nvPr>
        </p:nvSpPr>
        <p:spPr/>
        <p:txBody>
          <a:bodyPr/>
          <a:lstStyle/>
          <a:p>
            <a:fld id="{2C52CFDC-D2D5-4B9F-BA75-89F771E01AEB}" type="slidenum">
              <a:rPr lang="en-US" smtClean="0"/>
              <a:t>66</a:t>
            </a:fld>
            <a:endParaRPr lang="en-US"/>
          </a:p>
        </p:txBody>
      </p:sp>
    </p:spTree>
    <p:extLst>
      <p:ext uri="{BB962C8B-B14F-4D97-AF65-F5344CB8AC3E}">
        <p14:creationId xmlns:p14="http://schemas.microsoft.com/office/powerpoint/2010/main" val="398315875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Key points to hit are</a:t>
            </a:r>
          </a:p>
          <a:p>
            <a:pPr marL="628650" lvl="1" indent="-171450">
              <a:buFont typeface="Arial" panose="020B0604020202020204" pitchFamily="34" charset="0"/>
              <a:buChar char="•"/>
            </a:pPr>
            <a:r>
              <a:rPr lang="en-US" dirty="0" smtClean="0"/>
              <a:t>$150</a:t>
            </a:r>
            <a:r>
              <a:rPr lang="en-US" baseline="0" dirty="0" smtClean="0"/>
              <a:t> a month in azure credits (per developer) while an active member of BizSpark (max 3 years)</a:t>
            </a:r>
            <a:endParaRPr lang="en-US" dirty="0" smtClean="0"/>
          </a:p>
          <a:p>
            <a:pPr marL="628650" lvl="1" indent="-171450">
              <a:buFont typeface="Arial" panose="020B0604020202020204" pitchFamily="34" charset="0"/>
              <a:buChar char="•"/>
            </a:pPr>
            <a:r>
              <a:rPr lang="en-US" baseline="0" dirty="0" smtClean="0"/>
              <a:t>There are Windows and </a:t>
            </a:r>
            <a:r>
              <a:rPr lang="en-US" b="1" baseline="0" dirty="0" smtClean="0"/>
              <a:t>Linux </a:t>
            </a:r>
            <a:r>
              <a:rPr lang="en-US" b="0" baseline="0" dirty="0" smtClean="0"/>
              <a:t>virtual machines on Azure including ready to deploy images of Windows Server, Ubuntu, CentOS and more.</a:t>
            </a:r>
          </a:p>
          <a:p>
            <a:pPr marL="628650" lvl="1" indent="-171450">
              <a:buFont typeface="Arial" panose="020B0604020202020204" pitchFamily="34" charset="0"/>
              <a:buChar char="•"/>
            </a:pPr>
            <a:r>
              <a:rPr lang="en-US" b="0" baseline="0" dirty="0" smtClean="0"/>
              <a:t>Websites (PaaS) support for .NET, Node.js, PHP, Python and more</a:t>
            </a:r>
          </a:p>
          <a:p>
            <a:pPr marL="628650" lvl="1" indent="-171450">
              <a:buFont typeface="Arial" panose="020B0604020202020204" pitchFamily="34" charset="0"/>
              <a:buChar char="•"/>
            </a:pPr>
            <a:r>
              <a:rPr lang="en-US" b="0" baseline="0" dirty="0" smtClean="0"/>
              <a:t>Mobile Services for iOS, Android, Windows &amp; Web</a:t>
            </a:r>
          </a:p>
          <a:p>
            <a:pPr marL="628650" lvl="1" indent="-171450">
              <a:buFont typeface="Arial" panose="020B0604020202020204" pitchFamily="34" charset="0"/>
              <a:buChar char="•"/>
            </a:pPr>
            <a:r>
              <a:rPr lang="en-US" b="0" baseline="0" dirty="0" smtClean="0"/>
              <a:t>If you go past the credits you get a 40% discount on paid usage</a:t>
            </a:r>
            <a:endParaRPr lang="en-US" b="1"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67</a:t>
            </a:fld>
            <a:endParaRPr lang="en-US"/>
          </a:p>
        </p:txBody>
      </p:sp>
    </p:spTree>
    <p:extLst>
      <p:ext uri="{BB962C8B-B14F-4D97-AF65-F5344CB8AC3E}">
        <p14:creationId xmlns:p14="http://schemas.microsoft.com/office/powerpoint/2010/main" val="32037279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Key points to hit are</a:t>
            </a:r>
          </a:p>
          <a:p>
            <a:pPr marL="628650" lvl="1" indent="-171450">
              <a:buFont typeface="Arial" panose="020B0604020202020204" pitchFamily="34" charset="0"/>
              <a:buChar char="•"/>
            </a:pPr>
            <a:r>
              <a:rPr lang="en-US" dirty="0" smtClean="0"/>
              <a:t>The core of the BizSpark offer is free MSDN Ultimate Subscriptions</a:t>
            </a:r>
            <a:r>
              <a:rPr lang="en-US" baseline="0" dirty="0" smtClean="0"/>
              <a:t> (again one per developer)</a:t>
            </a:r>
          </a:p>
          <a:p>
            <a:pPr marL="628650" lvl="1" indent="-171450">
              <a:buFont typeface="Arial" panose="020B0604020202020204" pitchFamily="34" charset="0"/>
              <a:buChar char="•"/>
            </a:pPr>
            <a:r>
              <a:rPr lang="en-US" b="0" baseline="0" dirty="0" smtClean="0"/>
              <a:t>Normally these sell for over $13,000 each to our enterprise customers</a:t>
            </a:r>
          </a:p>
          <a:p>
            <a:pPr marL="628650" lvl="1" indent="-171450">
              <a:buFont typeface="Arial" panose="020B0604020202020204" pitchFamily="34" charset="0"/>
              <a:buChar char="•"/>
            </a:pPr>
            <a:r>
              <a:rPr lang="en-US" b="0" baseline="0" dirty="0" smtClean="0"/>
              <a:t>Startups get them for free!</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8</a:t>
            </a:fld>
            <a:endParaRPr lang="en-US"/>
          </a:p>
        </p:txBody>
      </p:sp>
    </p:spTree>
    <p:extLst>
      <p:ext uri="{BB962C8B-B14F-4D97-AF65-F5344CB8AC3E}">
        <p14:creationId xmlns:p14="http://schemas.microsoft.com/office/powerpoint/2010/main" val="135144282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Key points to hit are</a:t>
            </a:r>
          </a:p>
          <a:p>
            <a:pPr marL="628650" lvl="1" indent="-171450">
              <a:buFont typeface="Arial" panose="020B0604020202020204" pitchFamily="34" charset="0"/>
              <a:buChar char="•"/>
            </a:pPr>
            <a:r>
              <a:rPr lang="en-US" dirty="0" smtClean="0"/>
              <a:t>BizSpark</a:t>
            </a:r>
            <a:r>
              <a:rPr lang="en-US" baseline="0" dirty="0" smtClean="0"/>
              <a:t> Plus (aka the Azure 60k) is for BizSpark startups who are/need more than $500 a month in azure</a:t>
            </a:r>
          </a:p>
          <a:p>
            <a:pPr marL="628650" lvl="1" indent="-171450">
              <a:buFont typeface="Arial" panose="020B0604020202020204" pitchFamily="34" charset="0"/>
              <a:buChar char="•"/>
            </a:pPr>
            <a:r>
              <a:rPr lang="en-US" b="0" baseline="0" dirty="0" smtClean="0"/>
              <a:t>We can offer this even if they are on another cloud provider as long as they commit to migrating to Azure</a:t>
            </a:r>
          </a:p>
          <a:p>
            <a:pPr marL="628650" lvl="1" indent="-171450">
              <a:buFont typeface="Arial" panose="020B0604020202020204" pitchFamily="34" charset="0"/>
              <a:buChar char="•"/>
            </a:pPr>
            <a:r>
              <a:rPr lang="en-US" b="0" baseline="0" dirty="0" smtClean="0"/>
              <a:t>It’s by nomination only</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9</a:t>
            </a:fld>
            <a:endParaRPr lang="en-US"/>
          </a:p>
        </p:txBody>
      </p:sp>
    </p:spTree>
    <p:extLst>
      <p:ext uri="{BB962C8B-B14F-4D97-AF65-F5344CB8AC3E}">
        <p14:creationId xmlns:p14="http://schemas.microsoft.com/office/powerpoint/2010/main" val="2524647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the benefits scale when they add</a:t>
            </a:r>
            <a:r>
              <a:rPr lang="en-US" baseline="0" dirty="0" smtClean="0"/>
              <a:t> more developers</a:t>
            </a:r>
          </a:p>
          <a:p>
            <a:pPr marL="171450" indent="-171450">
              <a:buFont typeface="Arial" panose="020B0604020202020204" pitchFamily="34" charset="0"/>
              <a:buChar char="•"/>
            </a:pPr>
            <a:r>
              <a:rPr lang="en-US" b="0" baseline="0" dirty="0" smtClean="0"/>
              <a:t>Each developer gets their own MSDN subscription (and therefore their own benefits) including their own Azure subscription</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0</a:t>
            </a:fld>
            <a:endParaRPr lang="en-US"/>
          </a:p>
        </p:txBody>
      </p:sp>
    </p:spTree>
    <p:extLst>
      <p:ext uri="{BB962C8B-B14F-4D97-AF65-F5344CB8AC3E}">
        <p14:creationId xmlns:p14="http://schemas.microsoft.com/office/powerpoint/2010/main" val="36216758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you can have</a:t>
            </a:r>
            <a:r>
              <a:rPr lang="en-US" baseline="0" dirty="0" smtClean="0"/>
              <a:t> one developer apply their benefits towards a </a:t>
            </a:r>
            <a:r>
              <a:rPr lang="en-US" baseline="0" dirty="0" err="1" smtClean="0"/>
              <a:t>dev</a:t>
            </a:r>
            <a:r>
              <a:rPr lang="en-US" baseline="0" dirty="0" smtClean="0"/>
              <a:t> environment, another to a test </a:t>
            </a:r>
            <a:r>
              <a:rPr lang="en-US" baseline="0" dirty="0" err="1" smtClean="0"/>
              <a:t>env</a:t>
            </a:r>
            <a:r>
              <a:rPr lang="en-US" baseline="0" dirty="0" smtClean="0"/>
              <a:t>, another to a production </a:t>
            </a:r>
            <a:r>
              <a:rPr lang="en-US" baseline="0" dirty="0" err="1" smtClean="0"/>
              <a:t>env</a:t>
            </a:r>
            <a:endParaRPr lang="en-US" baseline="0" dirty="0" smtClean="0"/>
          </a:p>
          <a:p>
            <a:pPr marL="171450" indent="-171450">
              <a:buFont typeface="Arial" panose="020B0604020202020204" pitchFamily="34" charset="0"/>
              <a:buChar char="•"/>
            </a:pPr>
            <a:r>
              <a:rPr lang="en-US" b="0" baseline="0" dirty="0" smtClean="0"/>
              <a:t>Need more? Just email </a:t>
            </a:r>
            <a:r>
              <a:rPr lang="en-US" b="0" baseline="0" dirty="0" err="1" smtClean="0"/>
              <a:t>bizspark</a:t>
            </a:r>
            <a:r>
              <a:rPr lang="en-US" b="0" baseline="0" dirty="0" smtClean="0"/>
              <a:t> and explain why</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1</a:t>
            </a:fld>
            <a:endParaRPr lang="en-US"/>
          </a:p>
        </p:txBody>
      </p:sp>
    </p:spTree>
    <p:extLst>
      <p:ext uri="{BB962C8B-B14F-4D97-AF65-F5344CB8AC3E}">
        <p14:creationId xmlns:p14="http://schemas.microsoft.com/office/powerpoint/2010/main" val="292293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388129733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over 2800 startups are</a:t>
            </a:r>
            <a:r>
              <a:rPr lang="en-US" baseline="0" dirty="0" smtClean="0"/>
              <a:t> active or have graduated through the program!</a:t>
            </a:r>
          </a:p>
          <a:p>
            <a:pPr marL="171450" indent="-171450">
              <a:buFont typeface="Arial" panose="020B0604020202020204" pitchFamily="34" charset="0"/>
              <a:buChar char="•"/>
            </a:pPr>
            <a:r>
              <a:rPr lang="en-US" b="0" baseline="0" dirty="0" smtClean="0"/>
              <a:t>Currently there are over 1900 startups active in the program (03.16.2015)</a:t>
            </a:r>
          </a:p>
          <a:p>
            <a:pPr marL="171450" indent="-171450">
              <a:buFont typeface="Arial" panose="020B0604020202020204" pitchFamily="34" charset="0"/>
              <a:buChar char="•"/>
            </a:pPr>
            <a:r>
              <a:rPr lang="en-US" b="0" baseline="0" dirty="0" smtClean="0"/>
              <a:t>Feel free to edit the startups being shown to highlight local one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2</a:t>
            </a:fld>
            <a:endParaRPr lang="en-US"/>
          </a:p>
        </p:txBody>
      </p:sp>
    </p:spTree>
    <p:extLst>
      <p:ext uri="{BB962C8B-B14F-4D97-AF65-F5344CB8AC3E}">
        <p14:creationId xmlns:p14="http://schemas.microsoft.com/office/powerpoint/2010/main" val="247282236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20/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4</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924620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2603523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107872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49336950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455" y="2084173"/>
            <a:ext cx="11475214" cy="1796217"/>
          </a:xfrm>
          <a:noFill/>
        </p:spPr>
        <p:txBody>
          <a:bodyPr tIns="91440" bIns="91440" anchor="t" anchorCtr="0"/>
          <a:lstStyle>
            <a:lvl1pPr>
              <a:defRPr sz="706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198043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 id="2147483694" r:id="rId13"/>
    <p:sldLayoutId id="2147483695"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jp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24.emf"/></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ags" Target="../tags/tag2.xml"/><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12.xml"/><Relationship Id="rId4" Type="http://schemas.openxmlformats.org/officeDocument/2006/relationships/image" Target="../media/image56.png"/></Relationships>
</file>

<file path=ppt/slides/_rels/slide3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57.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notesSlide" Target="../notesSlides/notesSlide28.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slideLayout" Target="../slideLayouts/slideLayout12.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s>
</file>

<file path=ppt/slides/_rels/slide35.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2" Type="http://schemas.openxmlformats.org/officeDocument/2006/relationships/tags" Target="../tags/tag14.xml"/><Relationship Id="rId16" Type="http://schemas.openxmlformats.org/officeDocument/2006/relationships/notesSlide" Target="../notesSlides/notesSlide29.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slideLayout" Target="../slideLayouts/slideLayout12.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7.emf"/><Relationship Id="rId4" Type="http://schemas.openxmlformats.org/officeDocument/2006/relationships/image" Target="../media/image6.emf"/></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notesSlide" Target="../notesSlides/notesSlide32.xm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5.xml"/><Relationship Id="rId1" Type="http://schemas.openxmlformats.org/officeDocument/2006/relationships/slideLayout" Target="../slideLayouts/slideLayout12.xml"/><Relationship Id="rId4" Type="http://schemas.openxmlformats.org/officeDocument/2006/relationships/image" Target="../media/image24.emf"/></Relationships>
</file>

<file path=ppt/slides/_rels/slide4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2.xml"/><Relationship Id="rId1" Type="http://schemas.openxmlformats.org/officeDocument/2006/relationships/vmlDrawing" Target="../drawings/vmlDrawing1.vml"/><Relationship Id="rId5" Type="http://schemas.openxmlformats.org/officeDocument/2006/relationships/image" Target="../media/image63.wmf"/><Relationship Id="rId4" Type="http://schemas.openxmlformats.org/officeDocument/2006/relationships/oleObject" Target="../embeddings/oleObject1.bin"/></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18" Type="http://schemas.openxmlformats.org/officeDocument/2006/relationships/image" Target="../media/image20.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17" Type="http://schemas.openxmlformats.org/officeDocument/2006/relationships/image" Target="../media/image19.emf"/><Relationship Id="rId2" Type="http://schemas.openxmlformats.org/officeDocument/2006/relationships/notesSlide" Target="../notesSlides/notesSlide5.xml"/><Relationship Id="rId16" Type="http://schemas.openxmlformats.org/officeDocument/2006/relationships/image" Target="../media/image18.emf"/><Relationship Id="rId1" Type="http://schemas.openxmlformats.org/officeDocument/2006/relationships/slideLayout" Target="../slideLayouts/slideLayout1.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8" Type="http://schemas.openxmlformats.org/officeDocument/2006/relationships/image" Target="../media/image17.emf"/><Relationship Id="rId13" Type="http://schemas.openxmlformats.org/officeDocument/2006/relationships/image" Target="../media/image76.emf"/><Relationship Id="rId18" Type="http://schemas.openxmlformats.org/officeDocument/2006/relationships/image" Target="../media/image80.emf"/><Relationship Id="rId26" Type="http://schemas.openxmlformats.org/officeDocument/2006/relationships/image" Target="../media/image14.emf"/><Relationship Id="rId3" Type="http://schemas.openxmlformats.org/officeDocument/2006/relationships/image" Target="../media/image13.emf"/><Relationship Id="rId21" Type="http://schemas.openxmlformats.org/officeDocument/2006/relationships/image" Target="../media/image82.emf"/><Relationship Id="rId7" Type="http://schemas.openxmlformats.org/officeDocument/2006/relationships/image" Target="../media/image73.emf"/><Relationship Id="rId12" Type="http://schemas.openxmlformats.org/officeDocument/2006/relationships/image" Target="../media/image9.emf"/><Relationship Id="rId17" Type="http://schemas.openxmlformats.org/officeDocument/2006/relationships/image" Target="../media/image79.emf"/><Relationship Id="rId25" Type="http://schemas.openxmlformats.org/officeDocument/2006/relationships/image" Target="../media/image86.emf"/><Relationship Id="rId2" Type="http://schemas.openxmlformats.org/officeDocument/2006/relationships/notesSlide" Target="../notesSlides/notesSlide47.xml"/><Relationship Id="rId16" Type="http://schemas.openxmlformats.org/officeDocument/2006/relationships/image" Target="../media/image16.emf"/><Relationship Id="rId20" Type="http://schemas.openxmlformats.org/officeDocument/2006/relationships/image" Target="../media/image81.emf"/><Relationship Id="rId1" Type="http://schemas.openxmlformats.org/officeDocument/2006/relationships/slideLayout" Target="../slideLayouts/slideLayout13.xml"/><Relationship Id="rId6" Type="http://schemas.openxmlformats.org/officeDocument/2006/relationships/image" Target="../media/image72.emf"/><Relationship Id="rId11" Type="http://schemas.openxmlformats.org/officeDocument/2006/relationships/image" Target="../media/image75.png"/><Relationship Id="rId24" Type="http://schemas.openxmlformats.org/officeDocument/2006/relationships/image" Target="../media/image85.emf"/><Relationship Id="rId5" Type="http://schemas.openxmlformats.org/officeDocument/2006/relationships/image" Target="../media/image15.emf"/><Relationship Id="rId15" Type="http://schemas.openxmlformats.org/officeDocument/2006/relationships/image" Target="../media/image78.emf"/><Relationship Id="rId23" Type="http://schemas.openxmlformats.org/officeDocument/2006/relationships/image" Target="../media/image84.emf"/><Relationship Id="rId28" Type="http://schemas.openxmlformats.org/officeDocument/2006/relationships/image" Target="../media/image88.png"/><Relationship Id="rId10" Type="http://schemas.openxmlformats.org/officeDocument/2006/relationships/image" Target="../media/image74.png"/><Relationship Id="rId19" Type="http://schemas.openxmlformats.org/officeDocument/2006/relationships/image" Target="../media/image8.emf"/><Relationship Id="rId4" Type="http://schemas.openxmlformats.org/officeDocument/2006/relationships/image" Target="../media/image71.emf"/><Relationship Id="rId9" Type="http://schemas.openxmlformats.org/officeDocument/2006/relationships/image" Target="../media/image18.emf"/><Relationship Id="rId14" Type="http://schemas.openxmlformats.org/officeDocument/2006/relationships/image" Target="../media/image77.emf"/><Relationship Id="rId22" Type="http://schemas.openxmlformats.org/officeDocument/2006/relationships/image" Target="../media/image83.emf"/><Relationship Id="rId27" Type="http://schemas.openxmlformats.org/officeDocument/2006/relationships/image" Target="../media/image87.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49.xml"/><Relationship Id="rId1" Type="http://schemas.openxmlformats.org/officeDocument/2006/relationships/slideLayout" Target="../slideLayouts/slideLayout5.xml"/><Relationship Id="rId4" Type="http://schemas.openxmlformats.org/officeDocument/2006/relationships/image" Target="../media/image90.emf"/></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14.xml"/><Relationship Id="rId5" Type="http://schemas.openxmlformats.org/officeDocument/2006/relationships/image" Target="../media/image93.png"/><Relationship Id="rId4" Type="http://schemas.openxmlformats.org/officeDocument/2006/relationships/image" Target="../media/image92.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4.xml"/><Relationship Id="rId1" Type="http://schemas.openxmlformats.org/officeDocument/2006/relationships/slideLayout" Target="../slideLayouts/slideLayout6.xml"/><Relationship Id="rId5" Type="http://schemas.openxmlformats.org/officeDocument/2006/relationships/image" Target="../media/image96.png"/><Relationship Id="rId4" Type="http://schemas.openxmlformats.org/officeDocument/2006/relationships/image" Target="../media/image95.png"/></Relationships>
</file>

<file path=ppt/slides/_rels/slide67.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55.xml"/><Relationship Id="rId1" Type="http://schemas.openxmlformats.org/officeDocument/2006/relationships/slideLayout" Target="../slideLayouts/slideLayout6.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8.xml"/><Relationship Id="rId1" Type="http://schemas.openxmlformats.org/officeDocument/2006/relationships/slideLayout" Target="../slideLayouts/slideLayout6.xml"/><Relationship Id="rId5" Type="http://schemas.openxmlformats.org/officeDocument/2006/relationships/image" Target="../media/image108.png"/><Relationship Id="rId4" Type="http://schemas.openxmlformats.org/officeDocument/2006/relationships/image" Target="../media/image107.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png"/><Relationship Id="rId3" Type="http://schemas.openxmlformats.org/officeDocument/2006/relationships/image" Target="../media/image109.png"/><Relationship Id="rId7" Type="http://schemas.openxmlformats.org/officeDocument/2006/relationships/image" Target="../media/image113.png"/><Relationship Id="rId12" Type="http://schemas.openxmlformats.org/officeDocument/2006/relationships/image" Target="../media/image118.png"/><Relationship Id="rId2" Type="http://schemas.openxmlformats.org/officeDocument/2006/relationships/notesSlide" Target="../notesSlides/notesSlide60.xml"/><Relationship Id="rId1" Type="http://schemas.openxmlformats.org/officeDocument/2006/relationships/slideLayout" Target="../slideLayouts/slideLayout12.xml"/><Relationship Id="rId6" Type="http://schemas.openxmlformats.org/officeDocument/2006/relationships/image" Target="../media/image112.png"/><Relationship Id="rId11" Type="http://schemas.openxmlformats.org/officeDocument/2006/relationships/image" Target="../media/image117.pn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10.png"/><Relationship Id="rId9" Type="http://schemas.openxmlformats.org/officeDocument/2006/relationships/image" Target="../media/image115.png"/><Relationship Id="rId14" Type="http://schemas.openxmlformats.org/officeDocument/2006/relationships/image" Target="../media/image120.png"/></Relationships>
</file>

<file path=ppt/slides/_rels/slide73.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1.xml"/><Relationship Id="rId1" Type="http://schemas.openxmlformats.org/officeDocument/2006/relationships/slideLayout" Target="../slideLayouts/slideLayout10.xml"/><Relationship Id="rId4" Type="http://schemas.openxmlformats.org/officeDocument/2006/relationships/image" Target="../media/image123.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9.xml"/><Relationship Id="rId16" Type="http://schemas.openxmlformats.org/officeDocument/2006/relationships/image" Target="../media/image39.png"/><Relationship Id="rId1" Type="http://schemas.openxmlformats.org/officeDocument/2006/relationships/slideLayout" Target="../slideLayouts/slideLayout6.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Azure </a:t>
            </a:r>
            <a:r>
              <a:rPr lang="en-US" altLang="zh-CN" sz="9600" dirty="0" err="1" smtClean="0">
                <a:solidFill>
                  <a:schemeClr val="bg1"/>
                </a:solidFill>
              </a:rPr>
              <a:t>Iaa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798" y="489312"/>
            <a:ext cx="11079822" cy="957600"/>
          </a:xfrm>
        </p:spPr>
        <p:txBody>
          <a:bodyPr/>
          <a:lstStyle/>
          <a:p>
            <a:r>
              <a:rPr lang="en-US" dirty="0"/>
              <a:t>Virtual Machine Sizes</a:t>
            </a:r>
          </a:p>
        </p:txBody>
      </p:sp>
      <p:sp>
        <p:nvSpPr>
          <p:cNvPr id="3" name="TextBox 2"/>
          <p:cNvSpPr txBox="1"/>
          <p:nvPr/>
        </p:nvSpPr>
        <p:spPr>
          <a:xfrm>
            <a:off x="560798" y="1763485"/>
            <a:ext cx="8906541" cy="3354765"/>
          </a:xfrm>
          <a:prstGeom prst="rect">
            <a:avLst/>
          </a:prstGeom>
          <a:noFill/>
        </p:spPr>
        <p:txBody>
          <a:bodyPr wrap="none" rtlCol="0">
            <a:spAutoFit/>
          </a:bodyPr>
          <a:lstStyle/>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General </a:t>
            </a:r>
            <a:r>
              <a:rPr lang="en-US" sz="4000" dirty="0" smtClean="0">
                <a:solidFill>
                  <a:schemeClr val="bg1"/>
                </a:solidFill>
              </a:rPr>
              <a:t>Purpose compute: Basic</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General Purpose compute: Standard</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Optimized Compute</a:t>
            </a:r>
          </a:p>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Performance Optimized</a:t>
            </a:r>
          </a:p>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Network Optimized</a:t>
            </a:r>
          </a:p>
        </p:txBody>
      </p:sp>
    </p:spTree>
    <p:extLst>
      <p:ext uri="{BB962C8B-B14F-4D97-AF65-F5344CB8AC3E}">
        <p14:creationId xmlns:p14="http://schemas.microsoft.com/office/powerpoint/2010/main" val="546594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516014179"/>
              </p:ext>
            </p:extLst>
          </p:nvPr>
        </p:nvGraphicFramePr>
        <p:xfrm>
          <a:off x="544470" y="2462438"/>
          <a:ext cx="10640604" cy="4070652"/>
        </p:xfrm>
        <a:graphic>
          <a:graphicData uri="http://schemas.openxmlformats.org/drawingml/2006/table">
            <a:tbl>
              <a:tblPr firstRow="1" bandRow="1">
                <a:tableStyleId>{073A0DAA-6AF3-43AB-8588-CEC1D06C72B9}</a:tableStyleId>
              </a:tblPr>
              <a:tblGrid>
                <a:gridCol w="2660151">
                  <a:extLst>
                    <a:ext uri="{9D8B030D-6E8A-4147-A177-3AD203B41FA5}">
                      <a16:colId xmlns:a16="http://schemas.microsoft.com/office/drawing/2014/main" xmlns="" val="20000"/>
                    </a:ext>
                  </a:extLst>
                </a:gridCol>
                <a:gridCol w="2660151">
                  <a:extLst>
                    <a:ext uri="{9D8B030D-6E8A-4147-A177-3AD203B41FA5}">
                      <a16:colId xmlns:a16="http://schemas.microsoft.com/office/drawing/2014/main" xmlns="" val="20001"/>
                    </a:ext>
                  </a:extLst>
                </a:gridCol>
                <a:gridCol w="2660151">
                  <a:extLst>
                    <a:ext uri="{9D8B030D-6E8A-4147-A177-3AD203B41FA5}">
                      <a16:colId xmlns:a16="http://schemas.microsoft.com/office/drawing/2014/main" xmlns="" val="20002"/>
                    </a:ext>
                  </a:extLst>
                </a:gridCol>
                <a:gridCol w="2660151">
                  <a:extLst>
                    <a:ext uri="{9D8B030D-6E8A-4147-A177-3AD203B41FA5}">
                      <a16:colId xmlns:a16="http://schemas.microsoft.com/office/drawing/2014/main" xmlns="" val="20003"/>
                    </a:ext>
                  </a:extLst>
                </a:gridCol>
              </a:tblGrid>
              <a:tr h="678442">
                <a:tc>
                  <a:txBody>
                    <a:bodyPr/>
                    <a:lstStyle/>
                    <a:p>
                      <a:r>
                        <a:rPr lang="en-US" sz="2800" dirty="0"/>
                        <a:t>Instance</a:t>
                      </a:r>
                      <a:endParaRPr lang="en-US" sz="2800" dirty="0">
                        <a:solidFill>
                          <a:schemeClr val="bg1"/>
                        </a:solidFill>
                      </a:endParaRPr>
                    </a:p>
                  </a:txBody>
                  <a:tcPr marL="12485" marR="12485" marT="6242" marB="6242" anchor="ctr"/>
                </a:tc>
                <a:tc>
                  <a:txBody>
                    <a:bodyPr/>
                    <a:lstStyle/>
                    <a:p>
                      <a:r>
                        <a:rPr lang="en-US" sz="2800"/>
                        <a:t>Cores</a:t>
                      </a:r>
                      <a:endParaRPr lang="en-US" sz="2800">
                        <a:solidFill>
                          <a:schemeClr val="bg1"/>
                        </a:solidFill>
                      </a:endParaRPr>
                    </a:p>
                  </a:txBody>
                  <a:tcPr marL="12485" marR="12485" marT="6242" marB="6242" anchor="ctr"/>
                </a:tc>
                <a:tc>
                  <a:txBody>
                    <a:bodyPr/>
                    <a:lstStyle/>
                    <a:p>
                      <a:r>
                        <a:rPr lang="en-US" sz="2800"/>
                        <a:t>RAM</a:t>
                      </a:r>
                      <a:endParaRPr lang="en-US" sz="2800">
                        <a:solidFill>
                          <a:schemeClr val="bg1"/>
                        </a:solidFill>
                      </a:endParaRPr>
                    </a:p>
                  </a:txBody>
                  <a:tcPr marL="12485" marR="12485" marT="6242" marB="6242" anchor="ctr"/>
                </a:tc>
                <a:tc>
                  <a:txBody>
                    <a:bodyPr/>
                    <a:lstStyle/>
                    <a:p>
                      <a:r>
                        <a:rPr lang="en-US" sz="2800"/>
                        <a:t>Disk sizes</a:t>
                      </a:r>
                      <a:endParaRPr lang="en-US" sz="2800">
                        <a:solidFill>
                          <a:schemeClr val="bg1"/>
                        </a:solidFill>
                      </a:endParaRPr>
                    </a:p>
                  </a:txBody>
                  <a:tcPr marL="12485" marR="12485" marT="6242" marB="6242" anchor="ctr"/>
                </a:tc>
                <a:extLst>
                  <a:ext uri="{0D108BD9-81ED-4DB2-BD59-A6C34878D82A}">
                    <a16:rowId xmlns:a16="http://schemas.microsoft.com/office/drawing/2014/main" xmlns="" val="10000"/>
                  </a:ext>
                </a:extLst>
              </a:tr>
              <a:tr h="678442">
                <a:tc>
                  <a:txBody>
                    <a:bodyPr/>
                    <a:lstStyle/>
                    <a:p>
                      <a:r>
                        <a:rPr lang="en-US" sz="2800" dirty="0"/>
                        <a:t>A0 </a:t>
                      </a:r>
                      <a:endParaRPr lang="en-US" sz="2800" dirty="0">
                        <a:solidFill>
                          <a:schemeClr val="bg1"/>
                        </a:solidFill>
                      </a:endParaRPr>
                    </a:p>
                  </a:txBody>
                  <a:tcPr marL="12485" marR="12485" marT="6242" marB="6242" anchor="ctr"/>
                </a:tc>
                <a:tc>
                  <a:txBody>
                    <a:bodyPr/>
                    <a:lstStyle/>
                    <a:p>
                      <a:r>
                        <a:rPr lang="en-US" sz="2800"/>
                        <a:t>1</a:t>
                      </a:r>
                      <a:endParaRPr lang="en-US" sz="2800">
                        <a:solidFill>
                          <a:schemeClr val="bg1"/>
                        </a:solidFill>
                      </a:endParaRPr>
                    </a:p>
                  </a:txBody>
                  <a:tcPr marL="12485" marR="12485" marT="6242" marB="6242" anchor="ctr"/>
                </a:tc>
                <a:tc>
                  <a:txBody>
                    <a:bodyPr/>
                    <a:lstStyle/>
                    <a:p>
                      <a:r>
                        <a:rPr lang="en-US" sz="2800" dirty="0"/>
                        <a:t>0.75 GB</a:t>
                      </a:r>
                      <a:endParaRPr lang="en-US" sz="2800" dirty="0">
                        <a:solidFill>
                          <a:schemeClr val="bg1"/>
                        </a:solidFill>
                      </a:endParaRPr>
                    </a:p>
                  </a:txBody>
                  <a:tcPr marL="12485" marR="12485" marT="6242" marB="6242" anchor="ctr"/>
                </a:tc>
                <a:tc>
                  <a:txBody>
                    <a:bodyPr/>
                    <a:lstStyle/>
                    <a:p>
                      <a:r>
                        <a:rPr lang="en-US" sz="2800"/>
                        <a:t>20 GB</a:t>
                      </a:r>
                      <a:endParaRPr lang="en-US" sz="2800">
                        <a:solidFill>
                          <a:schemeClr val="bg1"/>
                        </a:solidFill>
                      </a:endParaRPr>
                    </a:p>
                  </a:txBody>
                  <a:tcPr marL="12485" marR="12485" marT="6242" marB="6242" anchor="ctr"/>
                </a:tc>
                <a:extLst>
                  <a:ext uri="{0D108BD9-81ED-4DB2-BD59-A6C34878D82A}">
                    <a16:rowId xmlns:a16="http://schemas.microsoft.com/office/drawing/2014/main" xmlns="" val="10001"/>
                  </a:ext>
                </a:extLst>
              </a:tr>
              <a:tr h="678442">
                <a:tc>
                  <a:txBody>
                    <a:bodyPr/>
                    <a:lstStyle/>
                    <a:p>
                      <a:r>
                        <a:rPr lang="en-US" sz="2800" dirty="0"/>
                        <a:t>A1 </a:t>
                      </a:r>
                      <a:endParaRPr lang="en-US" sz="2800" dirty="0">
                        <a:solidFill>
                          <a:schemeClr val="bg1"/>
                        </a:solidFill>
                      </a:endParaRPr>
                    </a:p>
                  </a:txBody>
                  <a:tcPr marL="12485" marR="12485" marT="6242" marB="6242" anchor="ctr"/>
                </a:tc>
                <a:tc>
                  <a:txBody>
                    <a:bodyPr/>
                    <a:lstStyle/>
                    <a:p>
                      <a:r>
                        <a:rPr lang="en-US" sz="2800"/>
                        <a:t>1</a:t>
                      </a:r>
                      <a:endParaRPr lang="en-US" sz="2800">
                        <a:solidFill>
                          <a:schemeClr val="bg1"/>
                        </a:solidFill>
                      </a:endParaRPr>
                    </a:p>
                  </a:txBody>
                  <a:tcPr marL="12485" marR="12485" marT="6242" marB="6242" anchor="ctr"/>
                </a:tc>
                <a:tc>
                  <a:txBody>
                    <a:bodyPr/>
                    <a:lstStyle/>
                    <a:p>
                      <a:r>
                        <a:rPr lang="en-US" sz="2800" dirty="0"/>
                        <a:t>1.75 GB</a:t>
                      </a:r>
                      <a:endParaRPr lang="en-US" sz="2800" dirty="0">
                        <a:solidFill>
                          <a:schemeClr val="bg1"/>
                        </a:solidFill>
                      </a:endParaRPr>
                    </a:p>
                  </a:txBody>
                  <a:tcPr marL="12485" marR="12485" marT="6242" marB="6242" anchor="ctr"/>
                </a:tc>
                <a:tc>
                  <a:txBody>
                    <a:bodyPr/>
                    <a:lstStyle/>
                    <a:p>
                      <a:r>
                        <a:rPr lang="en-US" sz="2800"/>
                        <a:t>40 GB</a:t>
                      </a:r>
                      <a:endParaRPr lang="en-US" sz="2800">
                        <a:solidFill>
                          <a:schemeClr val="bg1"/>
                        </a:solidFill>
                      </a:endParaRPr>
                    </a:p>
                  </a:txBody>
                  <a:tcPr marL="12485" marR="12485" marT="6242" marB="6242" anchor="ctr"/>
                </a:tc>
                <a:extLst>
                  <a:ext uri="{0D108BD9-81ED-4DB2-BD59-A6C34878D82A}">
                    <a16:rowId xmlns:a16="http://schemas.microsoft.com/office/drawing/2014/main" xmlns="" val="10002"/>
                  </a:ext>
                </a:extLst>
              </a:tr>
              <a:tr h="678442">
                <a:tc>
                  <a:txBody>
                    <a:bodyPr/>
                    <a:lstStyle/>
                    <a:p>
                      <a:r>
                        <a:rPr lang="en-US" sz="2800"/>
                        <a:t>A2 </a:t>
                      </a:r>
                      <a:endParaRPr lang="en-US" sz="2800">
                        <a:solidFill>
                          <a:schemeClr val="bg1"/>
                        </a:solidFill>
                      </a:endParaRPr>
                    </a:p>
                  </a:txBody>
                  <a:tcPr marL="12485" marR="12485" marT="6242" marB="6242" anchor="ctr"/>
                </a:tc>
                <a:tc>
                  <a:txBody>
                    <a:bodyPr/>
                    <a:lstStyle/>
                    <a:p>
                      <a:r>
                        <a:rPr lang="en-US" sz="2800"/>
                        <a:t>2</a:t>
                      </a:r>
                      <a:endParaRPr lang="en-US" sz="2800">
                        <a:solidFill>
                          <a:schemeClr val="bg1"/>
                        </a:solidFill>
                      </a:endParaRPr>
                    </a:p>
                  </a:txBody>
                  <a:tcPr marL="12485" marR="12485" marT="6242" marB="6242" anchor="ctr"/>
                </a:tc>
                <a:tc>
                  <a:txBody>
                    <a:bodyPr/>
                    <a:lstStyle/>
                    <a:p>
                      <a:r>
                        <a:rPr lang="en-US" sz="2800"/>
                        <a:t>3.5 GB</a:t>
                      </a:r>
                      <a:endParaRPr lang="en-US" sz="2800">
                        <a:solidFill>
                          <a:schemeClr val="bg1"/>
                        </a:solidFill>
                      </a:endParaRPr>
                    </a:p>
                  </a:txBody>
                  <a:tcPr marL="12485" marR="12485" marT="6242" marB="6242" anchor="ctr"/>
                </a:tc>
                <a:tc>
                  <a:txBody>
                    <a:bodyPr/>
                    <a:lstStyle/>
                    <a:p>
                      <a:r>
                        <a:rPr lang="en-US" sz="2800"/>
                        <a:t>60 GB</a:t>
                      </a:r>
                      <a:endParaRPr lang="en-US" sz="2800">
                        <a:solidFill>
                          <a:schemeClr val="bg1"/>
                        </a:solidFill>
                      </a:endParaRPr>
                    </a:p>
                  </a:txBody>
                  <a:tcPr marL="12485" marR="12485" marT="6242" marB="6242" anchor="ctr"/>
                </a:tc>
                <a:extLst>
                  <a:ext uri="{0D108BD9-81ED-4DB2-BD59-A6C34878D82A}">
                    <a16:rowId xmlns:a16="http://schemas.microsoft.com/office/drawing/2014/main" xmlns="" val="10003"/>
                  </a:ext>
                </a:extLst>
              </a:tr>
              <a:tr h="678442">
                <a:tc>
                  <a:txBody>
                    <a:bodyPr/>
                    <a:lstStyle/>
                    <a:p>
                      <a:r>
                        <a:rPr lang="en-US" sz="2800"/>
                        <a:t>A3 </a:t>
                      </a:r>
                      <a:endParaRPr lang="en-US" sz="2800">
                        <a:solidFill>
                          <a:schemeClr val="bg1"/>
                        </a:solidFill>
                      </a:endParaRPr>
                    </a:p>
                  </a:txBody>
                  <a:tcPr marL="12485" marR="12485" marT="6242" marB="6242" anchor="ctr"/>
                </a:tc>
                <a:tc>
                  <a:txBody>
                    <a:bodyPr/>
                    <a:lstStyle/>
                    <a:p>
                      <a:r>
                        <a:rPr lang="en-US" sz="2800"/>
                        <a:t>4</a:t>
                      </a:r>
                      <a:endParaRPr lang="en-US" sz="2800">
                        <a:solidFill>
                          <a:schemeClr val="bg1"/>
                        </a:solidFill>
                      </a:endParaRPr>
                    </a:p>
                  </a:txBody>
                  <a:tcPr marL="12485" marR="12485" marT="6242" marB="6242" anchor="ctr"/>
                </a:tc>
                <a:tc>
                  <a:txBody>
                    <a:bodyPr/>
                    <a:lstStyle/>
                    <a:p>
                      <a:r>
                        <a:rPr lang="en-US" sz="2800"/>
                        <a:t>7 GB</a:t>
                      </a:r>
                      <a:endParaRPr lang="en-US" sz="2800">
                        <a:solidFill>
                          <a:schemeClr val="bg1"/>
                        </a:solidFill>
                      </a:endParaRPr>
                    </a:p>
                  </a:txBody>
                  <a:tcPr marL="12485" marR="12485" marT="6242" marB="6242" anchor="ctr"/>
                </a:tc>
                <a:tc>
                  <a:txBody>
                    <a:bodyPr/>
                    <a:lstStyle/>
                    <a:p>
                      <a:r>
                        <a:rPr lang="en-US" sz="2800"/>
                        <a:t>120 GB</a:t>
                      </a:r>
                      <a:endParaRPr lang="en-US" sz="2800">
                        <a:solidFill>
                          <a:schemeClr val="bg1"/>
                        </a:solidFill>
                      </a:endParaRPr>
                    </a:p>
                  </a:txBody>
                  <a:tcPr marL="12485" marR="12485" marT="6242" marB="6242" anchor="ctr"/>
                </a:tc>
                <a:extLst>
                  <a:ext uri="{0D108BD9-81ED-4DB2-BD59-A6C34878D82A}">
                    <a16:rowId xmlns:a16="http://schemas.microsoft.com/office/drawing/2014/main" xmlns="" val="10004"/>
                  </a:ext>
                </a:extLst>
              </a:tr>
              <a:tr h="678442">
                <a:tc>
                  <a:txBody>
                    <a:bodyPr/>
                    <a:lstStyle/>
                    <a:p>
                      <a:r>
                        <a:rPr lang="en-US" sz="2800" dirty="0"/>
                        <a:t>A4 </a:t>
                      </a:r>
                      <a:endParaRPr lang="en-US" sz="2800" dirty="0">
                        <a:solidFill>
                          <a:schemeClr val="bg1"/>
                        </a:solidFill>
                      </a:endParaRPr>
                    </a:p>
                  </a:txBody>
                  <a:tcPr marL="12485" marR="12485" marT="6242" marB="6242" anchor="ctr"/>
                </a:tc>
                <a:tc>
                  <a:txBody>
                    <a:bodyPr/>
                    <a:lstStyle/>
                    <a:p>
                      <a:r>
                        <a:rPr lang="en-US" sz="2800" dirty="0"/>
                        <a:t>8</a:t>
                      </a:r>
                      <a:endParaRPr lang="en-US" sz="2800" dirty="0">
                        <a:solidFill>
                          <a:schemeClr val="bg1"/>
                        </a:solidFill>
                      </a:endParaRPr>
                    </a:p>
                  </a:txBody>
                  <a:tcPr marL="12485" marR="12485" marT="6242" marB="6242" anchor="ctr"/>
                </a:tc>
                <a:tc>
                  <a:txBody>
                    <a:bodyPr/>
                    <a:lstStyle/>
                    <a:p>
                      <a:r>
                        <a:rPr lang="en-US" sz="2800"/>
                        <a:t>14 GB</a:t>
                      </a:r>
                      <a:endParaRPr lang="en-US" sz="2800">
                        <a:solidFill>
                          <a:schemeClr val="bg1"/>
                        </a:solidFill>
                      </a:endParaRPr>
                    </a:p>
                  </a:txBody>
                  <a:tcPr marL="12485" marR="12485" marT="6242" marB="6242" anchor="ctr"/>
                </a:tc>
                <a:tc>
                  <a:txBody>
                    <a:bodyPr/>
                    <a:lstStyle/>
                    <a:p>
                      <a:r>
                        <a:rPr lang="en-US" sz="2800" dirty="0"/>
                        <a:t>240 GB</a:t>
                      </a:r>
                      <a:endParaRPr lang="en-US" sz="2800" dirty="0">
                        <a:solidFill>
                          <a:schemeClr val="bg1"/>
                        </a:solidFill>
                      </a:endParaRPr>
                    </a:p>
                  </a:txBody>
                  <a:tcPr marL="12485" marR="12485" marT="6242" marB="6242" anchor="ctr"/>
                </a:tc>
                <a:extLst>
                  <a:ext uri="{0D108BD9-81ED-4DB2-BD59-A6C34878D82A}">
                    <a16:rowId xmlns:a16="http://schemas.microsoft.com/office/drawing/2014/main" xmlns="" val="10005"/>
                  </a:ext>
                </a:extLst>
              </a:tr>
            </a:tbl>
          </a:graphicData>
        </a:graphic>
      </p:graphicFrame>
      <p:sp>
        <p:nvSpPr>
          <p:cNvPr id="4" name="Rectangle 1"/>
          <p:cNvSpPr>
            <a:spLocks noChangeArrowheads="1"/>
          </p:cNvSpPr>
          <p:nvPr/>
        </p:nvSpPr>
        <p:spPr bwMode="auto">
          <a:xfrm>
            <a:off x="511813" y="201673"/>
            <a:ext cx="10950845" cy="2348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88872" rIns="0" bIns="133308"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i="0" u="none" strike="noStrike" cap="none" normalizeH="0" baseline="0" dirty="0" smtClean="0">
                <a:ln>
                  <a:noFill/>
                </a:ln>
                <a:solidFill>
                  <a:srgbClr val="FFFFFF"/>
                </a:solidFill>
                <a:effectLst/>
              </a:rPr>
              <a:t>General purpose compute: Basic tier</a:t>
            </a:r>
          </a:p>
          <a:p>
            <a:pPr lvl="0" eaLnBrk="0" fontAlgn="base" hangingPunct="0">
              <a:spcBef>
                <a:spcPct val="0"/>
              </a:spcBef>
              <a:spcAft>
                <a:spcPct val="0"/>
              </a:spcAft>
            </a:pPr>
            <a:r>
              <a:rPr lang="en-US" sz="2800" dirty="0"/>
              <a:t>An economical option for development workloads, test servers, and other applications that don't require load balancing, auto-scaling, or memory-intensive virtual machines.</a:t>
            </a:r>
            <a:endParaRPr kumimoji="0" lang="en-US" altLang="en-US" sz="2800" i="0" u="none" strike="noStrike" cap="none" normalizeH="0" baseline="0" dirty="0" smtClean="0">
              <a:ln>
                <a:noFill/>
              </a:ln>
              <a:solidFill>
                <a:srgbClr val="FFFFFF"/>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endParaRPr>
          </a:p>
        </p:txBody>
      </p:sp>
    </p:spTree>
    <p:extLst>
      <p:ext uri="{BB962C8B-B14F-4D97-AF65-F5344CB8AC3E}">
        <p14:creationId xmlns:p14="http://schemas.microsoft.com/office/powerpoint/2010/main" val="247209806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798" y="195397"/>
            <a:ext cx="11079822" cy="1225188"/>
          </a:xfrm>
        </p:spPr>
        <p:txBody>
          <a:bodyPr>
            <a:normAutofit fontScale="90000"/>
          </a:bodyPr>
          <a:lstStyle/>
          <a:p>
            <a:r>
              <a:rPr lang="en-US" sz="4900" dirty="0"/>
              <a:t>General purpose </a:t>
            </a:r>
            <a:r>
              <a:rPr lang="en-US" sz="4900" dirty="0" smtClean="0"/>
              <a:t>compute: Standard </a:t>
            </a:r>
            <a:r>
              <a:rPr lang="en-US" sz="4900" dirty="0"/>
              <a:t>tier</a:t>
            </a:r>
            <a:r>
              <a:rPr lang="en-US" sz="3600" b="1" dirty="0"/>
              <a:t/>
            </a:r>
            <a:br>
              <a:rPr lang="en-US" sz="3600" b="1" dirty="0"/>
            </a:br>
            <a:r>
              <a:rPr lang="en-US" sz="3600" dirty="0">
                <a:solidFill>
                  <a:schemeClr val="tx1"/>
                </a:solidFill>
              </a:rPr>
              <a:t>Offers the most flexibility. Supports all virtual machine configurations and </a:t>
            </a:r>
            <a:r>
              <a:rPr lang="en-US" sz="3600" dirty="0" smtClean="0">
                <a:solidFill>
                  <a:schemeClr val="tx1"/>
                </a:solidFill>
              </a:rPr>
              <a:t>features</a:t>
            </a:r>
            <a:r>
              <a:rPr lang="en-US" sz="3100" dirty="0"/>
              <a:t/>
            </a:r>
            <a:br>
              <a:rPr lang="en-US" sz="3100" dirty="0"/>
            </a:br>
            <a:endParaRPr lang="en-US" sz="3100" dirty="0"/>
          </a:p>
        </p:txBody>
      </p:sp>
      <p:graphicFrame>
        <p:nvGraphicFramePr>
          <p:cNvPr id="3" name="Table 2"/>
          <p:cNvGraphicFramePr>
            <a:graphicFrameLocks noGrp="1"/>
          </p:cNvGraphicFramePr>
          <p:nvPr>
            <p:extLst>
              <p:ext uri="{D42A27DB-BD31-4B8C-83A1-F6EECF244321}">
                <p14:modId xmlns:p14="http://schemas.microsoft.com/office/powerpoint/2010/main" val="1023457293"/>
              </p:ext>
            </p:extLst>
          </p:nvPr>
        </p:nvGraphicFramePr>
        <p:xfrm>
          <a:off x="560798" y="1856799"/>
          <a:ext cx="11079824" cy="4759992"/>
        </p:xfrm>
        <a:graphic>
          <a:graphicData uri="http://schemas.openxmlformats.org/drawingml/2006/table">
            <a:tbl>
              <a:tblPr firstRow="1" bandRow="1">
                <a:tableStyleId>{073A0DAA-6AF3-43AB-8588-CEC1D06C72B9}</a:tableStyleId>
              </a:tblPr>
              <a:tblGrid>
                <a:gridCol w="2769956">
                  <a:extLst>
                    <a:ext uri="{9D8B030D-6E8A-4147-A177-3AD203B41FA5}">
                      <a16:colId xmlns:a16="http://schemas.microsoft.com/office/drawing/2014/main" xmlns="" val="20000"/>
                    </a:ext>
                  </a:extLst>
                </a:gridCol>
                <a:gridCol w="2769956">
                  <a:extLst>
                    <a:ext uri="{9D8B030D-6E8A-4147-A177-3AD203B41FA5}">
                      <a16:colId xmlns:a16="http://schemas.microsoft.com/office/drawing/2014/main" xmlns="" val="20001"/>
                    </a:ext>
                  </a:extLst>
                </a:gridCol>
                <a:gridCol w="2769956">
                  <a:extLst>
                    <a:ext uri="{9D8B030D-6E8A-4147-A177-3AD203B41FA5}">
                      <a16:colId xmlns:a16="http://schemas.microsoft.com/office/drawing/2014/main" xmlns="" val="20002"/>
                    </a:ext>
                  </a:extLst>
                </a:gridCol>
                <a:gridCol w="2769956">
                  <a:extLst>
                    <a:ext uri="{9D8B030D-6E8A-4147-A177-3AD203B41FA5}">
                      <a16:colId xmlns:a16="http://schemas.microsoft.com/office/drawing/2014/main" xmlns="" val="20003"/>
                    </a:ext>
                  </a:extLst>
                </a:gridCol>
              </a:tblGrid>
              <a:tr h="528888">
                <a:tc>
                  <a:txBody>
                    <a:bodyPr/>
                    <a:lstStyle/>
                    <a:p>
                      <a:r>
                        <a:rPr lang="en-US" sz="2800" dirty="0"/>
                        <a:t>Instance</a:t>
                      </a:r>
                    </a:p>
                  </a:txBody>
                  <a:tcPr marL="7478" marR="7478" marT="3739" marB="3739" anchor="ctr"/>
                </a:tc>
                <a:tc>
                  <a:txBody>
                    <a:bodyPr/>
                    <a:lstStyle/>
                    <a:p>
                      <a:r>
                        <a:rPr lang="en-US" sz="2800"/>
                        <a:t>Cores</a:t>
                      </a:r>
                    </a:p>
                  </a:txBody>
                  <a:tcPr marL="7478" marR="7478" marT="3739" marB="3739" anchor="ctr"/>
                </a:tc>
                <a:tc>
                  <a:txBody>
                    <a:bodyPr/>
                    <a:lstStyle/>
                    <a:p>
                      <a:r>
                        <a:rPr lang="en-US" sz="2800"/>
                        <a:t>RAM</a:t>
                      </a:r>
                    </a:p>
                  </a:txBody>
                  <a:tcPr marL="7478" marR="7478" marT="3739" marB="3739" anchor="ctr"/>
                </a:tc>
                <a:tc>
                  <a:txBody>
                    <a:bodyPr/>
                    <a:lstStyle/>
                    <a:p>
                      <a:r>
                        <a:rPr lang="en-US" sz="2800"/>
                        <a:t>Disk sizes</a:t>
                      </a:r>
                    </a:p>
                  </a:txBody>
                  <a:tcPr marL="7478" marR="7478" marT="3739" marB="3739" anchor="ctr"/>
                </a:tc>
                <a:extLst>
                  <a:ext uri="{0D108BD9-81ED-4DB2-BD59-A6C34878D82A}">
                    <a16:rowId xmlns:a16="http://schemas.microsoft.com/office/drawing/2014/main" xmlns="" val="10000"/>
                  </a:ext>
                </a:extLst>
              </a:tr>
              <a:tr h="528888">
                <a:tc>
                  <a:txBody>
                    <a:bodyPr/>
                    <a:lstStyle/>
                    <a:p>
                      <a:r>
                        <a:rPr lang="en-US" sz="2800" dirty="0"/>
                        <a:t>A0 </a:t>
                      </a:r>
                    </a:p>
                  </a:txBody>
                  <a:tcPr marL="7478" marR="7478" marT="3739" marB="3739" anchor="ctr"/>
                </a:tc>
                <a:tc>
                  <a:txBody>
                    <a:bodyPr/>
                    <a:lstStyle/>
                    <a:p>
                      <a:r>
                        <a:rPr lang="en-US" sz="2800"/>
                        <a:t>1</a:t>
                      </a:r>
                    </a:p>
                  </a:txBody>
                  <a:tcPr marL="7478" marR="7478" marT="3739" marB="3739" anchor="ctr"/>
                </a:tc>
                <a:tc>
                  <a:txBody>
                    <a:bodyPr/>
                    <a:lstStyle/>
                    <a:p>
                      <a:r>
                        <a:rPr lang="en-US" sz="2800"/>
                        <a:t>0.75 GB</a:t>
                      </a:r>
                    </a:p>
                  </a:txBody>
                  <a:tcPr marL="7478" marR="7478" marT="3739" marB="3739" anchor="ctr"/>
                </a:tc>
                <a:tc>
                  <a:txBody>
                    <a:bodyPr/>
                    <a:lstStyle/>
                    <a:p>
                      <a:r>
                        <a:rPr lang="en-US" sz="2800"/>
                        <a:t>20 GB</a:t>
                      </a:r>
                    </a:p>
                  </a:txBody>
                  <a:tcPr marL="7478" marR="7478" marT="3739" marB="3739" anchor="ctr"/>
                </a:tc>
                <a:extLst>
                  <a:ext uri="{0D108BD9-81ED-4DB2-BD59-A6C34878D82A}">
                    <a16:rowId xmlns:a16="http://schemas.microsoft.com/office/drawing/2014/main" xmlns="" val="10001"/>
                  </a:ext>
                </a:extLst>
              </a:tr>
              <a:tr h="528888">
                <a:tc>
                  <a:txBody>
                    <a:bodyPr/>
                    <a:lstStyle/>
                    <a:p>
                      <a:r>
                        <a:rPr lang="en-US" sz="2800"/>
                        <a:t>A1 </a:t>
                      </a:r>
                    </a:p>
                  </a:txBody>
                  <a:tcPr marL="7478" marR="7478" marT="3739" marB="3739" anchor="ctr"/>
                </a:tc>
                <a:tc>
                  <a:txBody>
                    <a:bodyPr/>
                    <a:lstStyle/>
                    <a:p>
                      <a:r>
                        <a:rPr lang="en-US" sz="2800"/>
                        <a:t>1</a:t>
                      </a:r>
                    </a:p>
                  </a:txBody>
                  <a:tcPr marL="7478" marR="7478" marT="3739" marB="3739" anchor="ctr"/>
                </a:tc>
                <a:tc>
                  <a:txBody>
                    <a:bodyPr/>
                    <a:lstStyle/>
                    <a:p>
                      <a:r>
                        <a:rPr lang="en-US" sz="2800"/>
                        <a:t>1.75 GB</a:t>
                      </a:r>
                    </a:p>
                  </a:txBody>
                  <a:tcPr marL="7478" marR="7478" marT="3739" marB="3739" anchor="ctr"/>
                </a:tc>
                <a:tc>
                  <a:txBody>
                    <a:bodyPr/>
                    <a:lstStyle/>
                    <a:p>
                      <a:r>
                        <a:rPr lang="en-US" sz="2800"/>
                        <a:t>70 GB</a:t>
                      </a:r>
                    </a:p>
                  </a:txBody>
                  <a:tcPr marL="7478" marR="7478" marT="3739" marB="3739" anchor="ctr"/>
                </a:tc>
                <a:extLst>
                  <a:ext uri="{0D108BD9-81ED-4DB2-BD59-A6C34878D82A}">
                    <a16:rowId xmlns:a16="http://schemas.microsoft.com/office/drawing/2014/main" xmlns="" val="10002"/>
                  </a:ext>
                </a:extLst>
              </a:tr>
              <a:tr h="528888">
                <a:tc>
                  <a:txBody>
                    <a:bodyPr/>
                    <a:lstStyle/>
                    <a:p>
                      <a:r>
                        <a:rPr lang="en-US" sz="2800"/>
                        <a:t>A2 </a:t>
                      </a:r>
                    </a:p>
                  </a:txBody>
                  <a:tcPr marL="7478" marR="7478" marT="3739" marB="3739" anchor="ctr"/>
                </a:tc>
                <a:tc>
                  <a:txBody>
                    <a:bodyPr/>
                    <a:lstStyle/>
                    <a:p>
                      <a:r>
                        <a:rPr lang="en-US" sz="2800" dirty="0"/>
                        <a:t>2</a:t>
                      </a:r>
                    </a:p>
                  </a:txBody>
                  <a:tcPr marL="7478" marR="7478" marT="3739" marB="3739" anchor="ctr"/>
                </a:tc>
                <a:tc>
                  <a:txBody>
                    <a:bodyPr/>
                    <a:lstStyle/>
                    <a:p>
                      <a:r>
                        <a:rPr lang="en-US" sz="2800"/>
                        <a:t>3.5 GB</a:t>
                      </a:r>
                    </a:p>
                  </a:txBody>
                  <a:tcPr marL="7478" marR="7478" marT="3739" marB="3739" anchor="ctr"/>
                </a:tc>
                <a:tc>
                  <a:txBody>
                    <a:bodyPr/>
                    <a:lstStyle/>
                    <a:p>
                      <a:r>
                        <a:rPr lang="en-US" sz="2800"/>
                        <a:t>135 GB</a:t>
                      </a:r>
                    </a:p>
                  </a:txBody>
                  <a:tcPr marL="7478" marR="7478" marT="3739" marB="3739" anchor="ctr"/>
                </a:tc>
                <a:extLst>
                  <a:ext uri="{0D108BD9-81ED-4DB2-BD59-A6C34878D82A}">
                    <a16:rowId xmlns:a16="http://schemas.microsoft.com/office/drawing/2014/main" xmlns="" val="10003"/>
                  </a:ext>
                </a:extLst>
              </a:tr>
              <a:tr h="528888">
                <a:tc>
                  <a:txBody>
                    <a:bodyPr/>
                    <a:lstStyle/>
                    <a:p>
                      <a:r>
                        <a:rPr lang="en-US" sz="2800"/>
                        <a:t>A3 </a:t>
                      </a:r>
                    </a:p>
                  </a:txBody>
                  <a:tcPr marL="7478" marR="7478" marT="3739" marB="3739" anchor="ctr"/>
                </a:tc>
                <a:tc>
                  <a:txBody>
                    <a:bodyPr/>
                    <a:lstStyle/>
                    <a:p>
                      <a:r>
                        <a:rPr lang="en-US" sz="2800" dirty="0"/>
                        <a:t>4</a:t>
                      </a:r>
                    </a:p>
                  </a:txBody>
                  <a:tcPr marL="7478" marR="7478" marT="3739" marB="3739" anchor="ctr"/>
                </a:tc>
                <a:tc>
                  <a:txBody>
                    <a:bodyPr/>
                    <a:lstStyle/>
                    <a:p>
                      <a:r>
                        <a:rPr lang="en-US" sz="2800" dirty="0"/>
                        <a:t>7 GB</a:t>
                      </a:r>
                    </a:p>
                  </a:txBody>
                  <a:tcPr marL="7478" marR="7478" marT="3739" marB="3739" anchor="ctr"/>
                </a:tc>
                <a:tc>
                  <a:txBody>
                    <a:bodyPr/>
                    <a:lstStyle/>
                    <a:p>
                      <a:r>
                        <a:rPr lang="en-US" sz="2800"/>
                        <a:t>285 GB</a:t>
                      </a:r>
                    </a:p>
                  </a:txBody>
                  <a:tcPr marL="7478" marR="7478" marT="3739" marB="3739" anchor="ctr"/>
                </a:tc>
                <a:extLst>
                  <a:ext uri="{0D108BD9-81ED-4DB2-BD59-A6C34878D82A}">
                    <a16:rowId xmlns:a16="http://schemas.microsoft.com/office/drawing/2014/main" xmlns="" val="10004"/>
                  </a:ext>
                </a:extLst>
              </a:tr>
              <a:tr h="528888">
                <a:tc>
                  <a:txBody>
                    <a:bodyPr/>
                    <a:lstStyle/>
                    <a:p>
                      <a:r>
                        <a:rPr lang="en-US" sz="2800"/>
                        <a:t>A4 </a:t>
                      </a:r>
                    </a:p>
                  </a:txBody>
                  <a:tcPr marL="7478" marR="7478" marT="3739" marB="3739" anchor="ctr"/>
                </a:tc>
                <a:tc>
                  <a:txBody>
                    <a:bodyPr/>
                    <a:lstStyle/>
                    <a:p>
                      <a:r>
                        <a:rPr lang="en-US" sz="2800"/>
                        <a:t>8</a:t>
                      </a:r>
                    </a:p>
                  </a:txBody>
                  <a:tcPr marL="7478" marR="7478" marT="3739" marB="3739" anchor="ctr"/>
                </a:tc>
                <a:tc>
                  <a:txBody>
                    <a:bodyPr/>
                    <a:lstStyle/>
                    <a:p>
                      <a:r>
                        <a:rPr lang="en-US" sz="2800"/>
                        <a:t>14 GB</a:t>
                      </a:r>
                    </a:p>
                  </a:txBody>
                  <a:tcPr marL="7478" marR="7478" marT="3739" marB="3739" anchor="ctr"/>
                </a:tc>
                <a:tc>
                  <a:txBody>
                    <a:bodyPr/>
                    <a:lstStyle/>
                    <a:p>
                      <a:r>
                        <a:rPr lang="en-US" sz="2800" dirty="0"/>
                        <a:t>605 GB</a:t>
                      </a:r>
                    </a:p>
                  </a:txBody>
                  <a:tcPr marL="7478" marR="7478" marT="3739" marB="3739" anchor="ctr"/>
                </a:tc>
                <a:extLst>
                  <a:ext uri="{0D108BD9-81ED-4DB2-BD59-A6C34878D82A}">
                    <a16:rowId xmlns:a16="http://schemas.microsoft.com/office/drawing/2014/main" xmlns="" val="10005"/>
                  </a:ext>
                </a:extLst>
              </a:tr>
              <a:tr h="528888">
                <a:tc>
                  <a:txBody>
                    <a:bodyPr/>
                    <a:lstStyle/>
                    <a:p>
                      <a:r>
                        <a:rPr lang="en-US" sz="2800"/>
                        <a:t>A5 </a:t>
                      </a:r>
                    </a:p>
                  </a:txBody>
                  <a:tcPr marL="7478" marR="7478" marT="3739" marB="3739" anchor="ctr"/>
                </a:tc>
                <a:tc>
                  <a:txBody>
                    <a:bodyPr/>
                    <a:lstStyle/>
                    <a:p>
                      <a:r>
                        <a:rPr lang="en-US" sz="2800"/>
                        <a:t>2</a:t>
                      </a:r>
                    </a:p>
                  </a:txBody>
                  <a:tcPr marL="7478" marR="7478" marT="3739" marB="3739" anchor="ctr"/>
                </a:tc>
                <a:tc>
                  <a:txBody>
                    <a:bodyPr/>
                    <a:lstStyle/>
                    <a:p>
                      <a:r>
                        <a:rPr lang="en-US" sz="2800" dirty="0"/>
                        <a:t>14 GB</a:t>
                      </a:r>
                    </a:p>
                  </a:txBody>
                  <a:tcPr marL="7478" marR="7478" marT="3739" marB="3739" anchor="ctr"/>
                </a:tc>
                <a:tc>
                  <a:txBody>
                    <a:bodyPr/>
                    <a:lstStyle/>
                    <a:p>
                      <a:r>
                        <a:rPr lang="en-US" sz="2800"/>
                        <a:t>135 GB</a:t>
                      </a:r>
                    </a:p>
                  </a:txBody>
                  <a:tcPr marL="7478" marR="7478" marT="3739" marB="3739" anchor="ctr"/>
                </a:tc>
                <a:extLst>
                  <a:ext uri="{0D108BD9-81ED-4DB2-BD59-A6C34878D82A}">
                    <a16:rowId xmlns:a16="http://schemas.microsoft.com/office/drawing/2014/main" xmlns="" val="10006"/>
                  </a:ext>
                </a:extLst>
              </a:tr>
              <a:tr h="528888">
                <a:tc>
                  <a:txBody>
                    <a:bodyPr/>
                    <a:lstStyle/>
                    <a:p>
                      <a:r>
                        <a:rPr lang="en-US" sz="2800"/>
                        <a:t>A6 </a:t>
                      </a:r>
                    </a:p>
                  </a:txBody>
                  <a:tcPr marL="7478" marR="7478" marT="3739" marB="3739" anchor="ctr"/>
                </a:tc>
                <a:tc>
                  <a:txBody>
                    <a:bodyPr/>
                    <a:lstStyle/>
                    <a:p>
                      <a:r>
                        <a:rPr lang="en-US" sz="2800"/>
                        <a:t>4</a:t>
                      </a:r>
                    </a:p>
                  </a:txBody>
                  <a:tcPr marL="7478" marR="7478" marT="3739" marB="3739" anchor="ctr"/>
                </a:tc>
                <a:tc>
                  <a:txBody>
                    <a:bodyPr/>
                    <a:lstStyle/>
                    <a:p>
                      <a:r>
                        <a:rPr lang="en-US" sz="2800"/>
                        <a:t>28 GB</a:t>
                      </a:r>
                    </a:p>
                  </a:txBody>
                  <a:tcPr marL="7478" marR="7478" marT="3739" marB="3739" anchor="ctr"/>
                </a:tc>
                <a:tc>
                  <a:txBody>
                    <a:bodyPr/>
                    <a:lstStyle/>
                    <a:p>
                      <a:r>
                        <a:rPr lang="en-US" sz="2800"/>
                        <a:t>285 GB</a:t>
                      </a:r>
                    </a:p>
                  </a:txBody>
                  <a:tcPr marL="7478" marR="7478" marT="3739" marB="3739" anchor="ctr"/>
                </a:tc>
                <a:extLst>
                  <a:ext uri="{0D108BD9-81ED-4DB2-BD59-A6C34878D82A}">
                    <a16:rowId xmlns:a16="http://schemas.microsoft.com/office/drawing/2014/main" xmlns="" val="10007"/>
                  </a:ext>
                </a:extLst>
              </a:tr>
              <a:tr h="528888">
                <a:tc>
                  <a:txBody>
                    <a:bodyPr/>
                    <a:lstStyle/>
                    <a:p>
                      <a:r>
                        <a:rPr lang="en-US" sz="2800"/>
                        <a:t>A7 </a:t>
                      </a:r>
                    </a:p>
                  </a:txBody>
                  <a:tcPr marL="7478" marR="7478" marT="3739" marB="3739" anchor="ctr"/>
                </a:tc>
                <a:tc>
                  <a:txBody>
                    <a:bodyPr/>
                    <a:lstStyle/>
                    <a:p>
                      <a:r>
                        <a:rPr lang="en-US" sz="2800"/>
                        <a:t>8</a:t>
                      </a:r>
                    </a:p>
                  </a:txBody>
                  <a:tcPr marL="7478" marR="7478" marT="3739" marB="3739" anchor="ctr"/>
                </a:tc>
                <a:tc>
                  <a:txBody>
                    <a:bodyPr/>
                    <a:lstStyle/>
                    <a:p>
                      <a:r>
                        <a:rPr lang="en-US" sz="2800"/>
                        <a:t>56 GB</a:t>
                      </a:r>
                    </a:p>
                  </a:txBody>
                  <a:tcPr marL="7478" marR="7478" marT="3739" marB="3739" anchor="ctr"/>
                </a:tc>
                <a:tc>
                  <a:txBody>
                    <a:bodyPr/>
                    <a:lstStyle/>
                    <a:p>
                      <a:r>
                        <a:rPr lang="en-US" sz="2800" dirty="0"/>
                        <a:t>605 GB</a:t>
                      </a:r>
                    </a:p>
                  </a:txBody>
                  <a:tcPr marL="7478" marR="7478" marT="3739" marB="3739" anchor="ct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62009031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141" y="195398"/>
            <a:ext cx="11079822" cy="957600"/>
          </a:xfrm>
        </p:spPr>
        <p:txBody>
          <a:bodyPr>
            <a:normAutofit fontScale="90000"/>
          </a:bodyPr>
          <a:lstStyle/>
          <a:p>
            <a:r>
              <a:rPr lang="en-US" b="1" dirty="0"/>
              <a:t>Optimized </a:t>
            </a:r>
            <a:r>
              <a:rPr lang="en-US" b="1" dirty="0" smtClean="0"/>
              <a:t>compute</a:t>
            </a:r>
            <a:br>
              <a:rPr lang="en-US" b="1" dirty="0" smtClean="0"/>
            </a:br>
            <a:r>
              <a:rPr lang="en-US" sz="4000" b="1" dirty="0" smtClean="0">
                <a:solidFill>
                  <a:schemeClr val="tx1"/>
                </a:solidFill>
              </a:rPr>
              <a:t>60</a:t>
            </a:r>
            <a:r>
              <a:rPr lang="en-US" sz="4000" b="1" dirty="0">
                <a:solidFill>
                  <a:schemeClr val="tx1"/>
                </a:solidFill>
              </a:rPr>
              <a:t>% faster CPUs, more memory, and local SSD</a:t>
            </a:r>
            <a:endParaRPr lang="en-US" sz="4000"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60024642"/>
              </p:ext>
            </p:extLst>
          </p:nvPr>
        </p:nvGraphicFramePr>
        <p:xfrm>
          <a:off x="642441" y="1595541"/>
          <a:ext cx="11079824" cy="4881908"/>
        </p:xfrm>
        <a:graphic>
          <a:graphicData uri="http://schemas.openxmlformats.org/drawingml/2006/table">
            <a:tbl>
              <a:tblPr firstRow="1" bandRow="1">
                <a:tableStyleId>{073A0DAA-6AF3-43AB-8588-CEC1D06C72B9}</a:tableStyleId>
              </a:tblPr>
              <a:tblGrid>
                <a:gridCol w="2769956">
                  <a:extLst>
                    <a:ext uri="{9D8B030D-6E8A-4147-A177-3AD203B41FA5}">
                      <a16:colId xmlns:a16="http://schemas.microsoft.com/office/drawing/2014/main" xmlns="" val="20000"/>
                    </a:ext>
                  </a:extLst>
                </a:gridCol>
                <a:gridCol w="2769956">
                  <a:extLst>
                    <a:ext uri="{9D8B030D-6E8A-4147-A177-3AD203B41FA5}">
                      <a16:colId xmlns:a16="http://schemas.microsoft.com/office/drawing/2014/main" xmlns="" val="20001"/>
                    </a:ext>
                  </a:extLst>
                </a:gridCol>
                <a:gridCol w="2769956">
                  <a:extLst>
                    <a:ext uri="{9D8B030D-6E8A-4147-A177-3AD203B41FA5}">
                      <a16:colId xmlns:a16="http://schemas.microsoft.com/office/drawing/2014/main" xmlns="" val="20002"/>
                    </a:ext>
                  </a:extLst>
                </a:gridCol>
                <a:gridCol w="2769956">
                  <a:extLst>
                    <a:ext uri="{9D8B030D-6E8A-4147-A177-3AD203B41FA5}">
                      <a16:colId xmlns:a16="http://schemas.microsoft.com/office/drawing/2014/main" xmlns="" val="20003"/>
                    </a:ext>
                  </a:extLst>
                </a:gridCol>
              </a:tblGrid>
              <a:tr h="0">
                <a:tc>
                  <a:txBody>
                    <a:bodyPr/>
                    <a:lstStyle/>
                    <a:p>
                      <a:r>
                        <a:rPr lang="en-US" sz="2400"/>
                        <a:t>Instance</a:t>
                      </a:r>
                    </a:p>
                  </a:txBody>
                  <a:tcPr marL="7478" marR="7478" marT="3739" marB="3739" anchor="ctr"/>
                </a:tc>
                <a:tc>
                  <a:txBody>
                    <a:bodyPr/>
                    <a:lstStyle/>
                    <a:p>
                      <a:r>
                        <a:rPr lang="en-US" sz="2400"/>
                        <a:t>Cores</a:t>
                      </a:r>
                    </a:p>
                  </a:txBody>
                  <a:tcPr marL="7478" marR="7478" marT="3739" marB="3739" anchor="ctr"/>
                </a:tc>
                <a:tc>
                  <a:txBody>
                    <a:bodyPr/>
                    <a:lstStyle/>
                    <a:p>
                      <a:r>
                        <a:rPr lang="en-US" sz="2400"/>
                        <a:t>RAM</a:t>
                      </a:r>
                    </a:p>
                  </a:txBody>
                  <a:tcPr marL="7478" marR="7478" marT="3739" marB="3739" anchor="ctr"/>
                </a:tc>
                <a:tc>
                  <a:txBody>
                    <a:bodyPr/>
                    <a:lstStyle/>
                    <a:p>
                      <a:r>
                        <a:rPr lang="en-US" sz="2400"/>
                        <a:t>Disk sizes</a:t>
                      </a:r>
                    </a:p>
                  </a:txBody>
                  <a:tcPr marL="7478" marR="7478" marT="3739" marB="3739" anchor="ctr"/>
                </a:tc>
                <a:extLst>
                  <a:ext uri="{0D108BD9-81ED-4DB2-BD59-A6C34878D82A}">
                    <a16:rowId xmlns:a16="http://schemas.microsoft.com/office/drawing/2014/main" xmlns="" val="10000"/>
                  </a:ext>
                </a:extLst>
              </a:tr>
              <a:tr h="590776">
                <a:tc>
                  <a:txBody>
                    <a:bodyPr/>
                    <a:lstStyle/>
                    <a:p>
                      <a:r>
                        <a:rPr lang="en-US" sz="2400" dirty="0"/>
                        <a:t>D1 </a:t>
                      </a:r>
                    </a:p>
                  </a:txBody>
                  <a:tcPr marL="7478" marR="7478" marT="3739" marB="3739" anchor="ctr"/>
                </a:tc>
                <a:tc>
                  <a:txBody>
                    <a:bodyPr/>
                    <a:lstStyle/>
                    <a:p>
                      <a:r>
                        <a:rPr lang="en-US" sz="2400"/>
                        <a:t>1</a:t>
                      </a:r>
                    </a:p>
                  </a:txBody>
                  <a:tcPr marL="7478" marR="7478" marT="3739" marB="3739" anchor="ctr"/>
                </a:tc>
                <a:tc>
                  <a:txBody>
                    <a:bodyPr/>
                    <a:lstStyle/>
                    <a:p>
                      <a:r>
                        <a:rPr lang="en-US" sz="2400"/>
                        <a:t>3.5 GB</a:t>
                      </a:r>
                    </a:p>
                  </a:txBody>
                  <a:tcPr marL="7478" marR="7478" marT="3739" marB="3739" anchor="ctr"/>
                </a:tc>
                <a:tc>
                  <a:txBody>
                    <a:bodyPr/>
                    <a:lstStyle/>
                    <a:p>
                      <a:r>
                        <a:rPr lang="en-US" sz="2400"/>
                        <a:t>50 GB</a:t>
                      </a:r>
                    </a:p>
                  </a:txBody>
                  <a:tcPr marL="7478" marR="7478" marT="3739" marB="3739" anchor="ctr"/>
                </a:tc>
                <a:extLst>
                  <a:ext uri="{0D108BD9-81ED-4DB2-BD59-A6C34878D82A}">
                    <a16:rowId xmlns:a16="http://schemas.microsoft.com/office/drawing/2014/main" xmlns="" val="10001"/>
                  </a:ext>
                </a:extLst>
              </a:tr>
              <a:tr h="590776">
                <a:tc>
                  <a:txBody>
                    <a:bodyPr/>
                    <a:lstStyle/>
                    <a:p>
                      <a:r>
                        <a:rPr lang="en-US" sz="2400"/>
                        <a:t>D2 </a:t>
                      </a:r>
                    </a:p>
                  </a:txBody>
                  <a:tcPr marL="7478" marR="7478" marT="3739" marB="3739" anchor="ctr"/>
                </a:tc>
                <a:tc>
                  <a:txBody>
                    <a:bodyPr/>
                    <a:lstStyle/>
                    <a:p>
                      <a:r>
                        <a:rPr lang="en-US" sz="2400"/>
                        <a:t>2</a:t>
                      </a:r>
                    </a:p>
                  </a:txBody>
                  <a:tcPr marL="7478" marR="7478" marT="3739" marB="3739" anchor="ctr"/>
                </a:tc>
                <a:tc>
                  <a:txBody>
                    <a:bodyPr/>
                    <a:lstStyle/>
                    <a:p>
                      <a:r>
                        <a:rPr lang="en-US" sz="2400"/>
                        <a:t>7 GB</a:t>
                      </a:r>
                    </a:p>
                  </a:txBody>
                  <a:tcPr marL="7478" marR="7478" marT="3739" marB="3739" anchor="ctr"/>
                </a:tc>
                <a:tc>
                  <a:txBody>
                    <a:bodyPr/>
                    <a:lstStyle/>
                    <a:p>
                      <a:r>
                        <a:rPr lang="en-US" sz="2400"/>
                        <a:t>100 GB</a:t>
                      </a:r>
                    </a:p>
                  </a:txBody>
                  <a:tcPr marL="7478" marR="7478" marT="3739" marB="3739" anchor="ctr"/>
                </a:tc>
                <a:extLst>
                  <a:ext uri="{0D108BD9-81ED-4DB2-BD59-A6C34878D82A}">
                    <a16:rowId xmlns:a16="http://schemas.microsoft.com/office/drawing/2014/main" xmlns="" val="10002"/>
                  </a:ext>
                </a:extLst>
              </a:tr>
              <a:tr h="590776">
                <a:tc>
                  <a:txBody>
                    <a:bodyPr/>
                    <a:lstStyle/>
                    <a:p>
                      <a:r>
                        <a:rPr lang="en-US" sz="2400"/>
                        <a:t>D3 </a:t>
                      </a:r>
                    </a:p>
                  </a:txBody>
                  <a:tcPr marL="7478" marR="7478" marT="3739" marB="3739" anchor="ctr"/>
                </a:tc>
                <a:tc>
                  <a:txBody>
                    <a:bodyPr/>
                    <a:lstStyle/>
                    <a:p>
                      <a:r>
                        <a:rPr lang="en-US" sz="2400"/>
                        <a:t>4</a:t>
                      </a:r>
                    </a:p>
                  </a:txBody>
                  <a:tcPr marL="7478" marR="7478" marT="3739" marB="3739" anchor="ctr"/>
                </a:tc>
                <a:tc>
                  <a:txBody>
                    <a:bodyPr/>
                    <a:lstStyle/>
                    <a:p>
                      <a:r>
                        <a:rPr lang="en-US" sz="2400"/>
                        <a:t>14 GB</a:t>
                      </a:r>
                    </a:p>
                  </a:txBody>
                  <a:tcPr marL="7478" marR="7478" marT="3739" marB="3739" anchor="ctr"/>
                </a:tc>
                <a:tc>
                  <a:txBody>
                    <a:bodyPr/>
                    <a:lstStyle/>
                    <a:p>
                      <a:r>
                        <a:rPr lang="en-US" sz="2400"/>
                        <a:t>200 GB</a:t>
                      </a:r>
                    </a:p>
                  </a:txBody>
                  <a:tcPr marL="7478" marR="7478" marT="3739" marB="3739" anchor="ctr"/>
                </a:tc>
                <a:extLst>
                  <a:ext uri="{0D108BD9-81ED-4DB2-BD59-A6C34878D82A}">
                    <a16:rowId xmlns:a16="http://schemas.microsoft.com/office/drawing/2014/main" xmlns="" val="10003"/>
                  </a:ext>
                </a:extLst>
              </a:tr>
              <a:tr h="590776">
                <a:tc>
                  <a:txBody>
                    <a:bodyPr/>
                    <a:lstStyle/>
                    <a:p>
                      <a:r>
                        <a:rPr lang="en-US" sz="2400" dirty="0"/>
                        <a:t>D4 </a:t>
                      </a:r>
                    </a:p>
                  </a:txBody>
                  <a:tcPr marL="7478" marR="7478" marT="3739" marB="3739" anchor="ctr"/>
                </a:tc>
                <a:tc>
                  <a:txBody>
                    <a:bodyPr/>
                    <a:lstStyle/>
                    <a:p>
                      <a:r>
                        <a:rPr lang="en-US" sz="2400"/>
                        <a:t>8</a:t>
                      </a:r>
                    </a:p>
                  </a:txBody>
                  <a:tcPr marL="7478" marR="7478" marT="3739" marB="3739" anchor="ctr"/>
                </a:tc>
                <a:tc>
                  <a:txBody>
                    <a:bodyPr/>
                    <a:lstStyle/>
                    <a:p>
                      <a:r>
                        <a:rPr lang="en-US" sz="2400"/>
                        <a:t>28 GB</a:t>
                      </a:r>
                    </a:p>
                  </a:txBody>
                  <a:tcPr marL="7478" marR="7478" marT="3739" marB="3739" anchor="ctr"/>
                </a:tc>
                <a:tc>
                  <a:txBody>
                    <a:bodyPr/>
                    <a:lstStyle/>
                    <a:p>
                      <a:r>
                        <a:rPr lang="en-US" sz="2400"/>
                        <a:t>400 GB</a:t>
                      </a:r>
                    </a:p>
                  </a:txBody>
                  <a:tcPr marL="7478" marR="7478" marT="3739" marB="3739" anchor="ctr"/>
                </a:tc>
                <a:extLst>
                  <a:ext uri="{0D108BD9-81ED-4DB2-BD59-A6C34878D82A}">
                    <a16:rowId xmlns:a16="http://schemas.microsoft.com/office/drawing/2014/main" xmlns="" val="10004"/>
                  </a:ext>
                </a:extLst>
              </a:tr>
              <a:tr h="590776">
                <a:tc>
                  <a:txBody>
                    <a:bodyPr/>
                    <a:lstStyle/>
                    <a:p>
                      <a:r>
                        <a:rPr lang="en-US" sz="2400"/>
                        <a:t>D11 </a:t>
                      </a:r>
                    </a:p>
                  </a:txBody>
                  <a:tcPr marL="7478" marR="7478" marT="3739" marB="3739" anchor="ctr"/>
                </a:tc>
                <a:tc>
                  <a:txBody>
                    <a:bodyPr/>
                    <a:lstStyle/>
                    <a:p>
                      <a:r>
                        <a:rPr lang="en-US" sz="2400"/>
                        <a:t>2</a:t>
                      </a:r>
                    </a:p>
                  </a:txBody>
                  <a:tcPr marL="7478" marR="7478" marT="3739" marB="3739" anchor="ctr"/>
                </a:tc>
                <a:tc>
                  <a:txBody>
                    <a:bodyPr/>
                    <a:lstStyle/>
                    <a:p>
                      <a:r>
                        <a:rPr lang="en-US" sz="2400"/>
                        <a:t>14 GB</a:t>
                      </a:r>
                    </a:p>
                  </a:txBody>
                  <a:tcPr marL="7478" marR="7478" marT="3739" marB="3739" anchor="ctr"/>
                </a:tc>
                <a:tc>
                  <a:txBody>
                    <a:bodyPr/>
                    <a:lstStyle/>
                    <a:p>
                      <a:r>
                        <a:rPr lang="en-US" sz="2400"/>
                        <a:t>100 GB</a:t>
                      </a:r>
                    </a:p>
                  </a:txBody>
                  <a:tcPr marL="7478" marR="7478" marT="3739" marB="3739" anchor="ctr"/>
                </a:tc>
                <a:extLst>
                  <a:ext uri="{0D108BD9-81ED-4DB2-BD59-A6C34878D82A}">
                    <a16:rowId xmlns:a16="http://schemas.microsoft.com/office/drawing/2014/main" xmlns="" val="10005"/>
                  </a:ext>
                </a:extLst>
              </a:tr>
              <a:tr h="590776">
                <a:tc>
                  <a:txBody>
                    <a:bodyPr/>
                    <a:lstStyle/>
                    <a:p>
                      <a:r>
                        <a:rPr lang="en-US" sz="2400"/>
                        <a:t>D12 </a:t>
                      </a:r>
                    </a:p>
                  </a:txBody>
                  <a:tcPr marL="7478" marR="7478" marT="3739" marB="3739" anchor="ctr"/>
                </a:tc>
                <a:tc>
                  <a:txBody>
                    <a:bodyPr/>
                    <a:lstStyle/>
                    <a:p>
                      <a:r>
                        <a:rPr lang="en-US" sz="2400"/>
                        <a:t>4</a:t>
                      </a:r>
                    </a:p>
                  </a:txBody>
                  <a:tcPr marL="7478" marR="7478" marT="3739" marB="3739" anchor="ctr"/>
                </a:tc>
                <a:tc>
                  <a:txBody>
                    <a:bodyPr/>
                    <a:lstStyle/>
                    <a:p>
                      <a:r>
                        <a:rPr lang="en-US" sz="2400"/>
                        <a:t>28 GB</a:t>
                      </a:r>
                    </a:p>
                  </a:txBody>
                  <a:tcPr marL="7478" marR="7478" marT="3739" marB="3739" anchor="ctr"/>
                </a:tc>
                <a:tc>
                  <a:txBody>
                    <a:bodyPr/>
                    <a:lstStyle/>
                    <a:p>
                      <a:r>
                        <a:rPr lang="en-US" sz="2400"/>
                        <a:t>200 GB</a:t>
                      </a:r>
                    </a:p>
                  </a:txBody>
                  <a:tcPr marL="7478" marR="7478" marT="3739" marB="3739" anchor="ctr"/>
                </a:tc>
                <a:extLst>
                  <a:ext uri="{0D108BD9-81ED-4DB2-BD59-A6C34878D82A}">
                    <a16:rowId xmlns:a16="http://schemas.microsoft.com/office/drawing/2014/main" xmlns="" val="10006"/>
                  </a:ext>
                </a:extLst>
              </a:tr>
              <a:tr h="590776">
                <a:tc>
                  <a:txBody>
                    <a:bodyPr/>
                    <a:lstStyle/>
                    <a:p>
                      <a:r>
                        <a:rPr lang="en-US" sz="2400"/>
                        <a:t>D13 </a:t>
                      </a:r>
                    </a:p>
                  </a:txBody>
                  <a:tcPr marL="7478" marR="7478" marT="3739" marB="3739" anchor="ctr"/>
                </a:tc>
                <a:tc>
                  <a:txBody>
                    <a:bodyPr/>
                    <a:lstStyle/>
                    <a:p>
                      <a:r>
                        <a:rPr lang="en-US" sz="2400"/>
                        <a:t>8</a:t>
                      </a:r>
                    </a:p>
                  </a:txBody>
                  <a:tcPr marL="7478" marR="7478" marT="3739" marB="3739" anchor="ctr"/>
                </a:tc>
                <a:tc>
                  <a:txBody>
                    <a:bodyPr/>
                    <a:lstStyle/>
                    <a:p>
                      <a:r>
                        <a:rPr lang="en-US" sz="2400"/>
                        <a:t>56 GB</a:t>
                      </a:r>
                    </a:p>
                  </a:txBody>
                  <a:tcPr marL="7478" marR="7478" marT="3739" marB="3739" anchor="ctr"/>
                </a:tc>
                <a:tc>
                  <a:txBody>
                    <a:bodyPr/>
                    <a:lstStyle/>
                    <a:p>
                      <a:r>
                        <a:rPr lang="en-US" sz="2400"/>
                        <a:t>400 GB</a:t>
                      </a:r>
                    </a:p>
                  </a:txBody>
                  <a:tcPr marL="7478" marR="7478" marT="3739" marB="3739" anchor="ctr"/>
                </a:tc>
                <a:extLst>
                  <a:ext uri="{0D108BD9-81ED-4DB2-BD59-A6C34878D82A}">
                    <a16:rowId xmlns:a16="http://schemas.microsoft.com/office/drawing/2014/main" xmlns="" val="10007"/>
                  </a:ext>
                </a:extLst>
              </a:tr>
              <a:tr h="254258">
                <a:tc>
                  <a:txBody>
                    <a:bodyPr/>
                    <a:lstStyle/>
                    <a:p>
                      <a:r>
                        <a:rPr lang="en-US" sz="2400"/>
                        <a:t>D14 </a:t>
                      </a:r>
                    </a:p>
                  </a:txBody>
                  <a:tcPr marL="7478" marR="7478" marT="3739" marB="3739" anchor="ctr"/>
                </a:tc>
                <a:tc>
                  <a:txBody>
                    <a:bodyPr/>
                    <a:lstStyle/>
                    <a:p>
                      <a:r>
                        <a:rPr lang="en-US" sz="2400"/>
                        <a:t>16</a:t>
                      </a:r>
                    </a:p>
                  </a:txBody>
                  <a:tcPr marL="7478" marR="7478" marT="3739" marB="3739" anchor="ctr"/>
                </a:tc>
                <a:tc>
                  <a:txBody>
                    <a:bodyPr/>
                    <a:lstStyle/>
                    <a:p>
                      <a:r>
                        <a:rPr lang="en-US" sz="2400"/>
                        <a:t>112 GB</a:t>
                      </a:r>
                    </a:p>
                  </a:txBody>
                  <a:tcPr marL="7478" marR="7478" marT="3739" marB="3739" anchor="ctr"/>
                </a:tc>
                <a:tc>
                  <a:txBody>
                    <a:bodyPr/>
                    <a:lstStyle/>
                    <a:p>
                      <a:r>
                        <a:rPr lang="en-US" sz="2400" dirty="0"/>
                        <a:t>800 GB</a:t>
                      </a:r>
                    </a:p>
                  </a:txBody>
                  <a:tcPr marL="7478" marR="7478" marT="3739" marB="3739" anchor="ct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243888092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3455" y="309698"/>
            <a:ext cx="11079822" cy="957600"/>
          </a:xfrm>
        </p:spPr>
        <p:txBody>
          <a:bodyPr>
            <a:normAutofit fontScale="90000"/>
          </a:bodyPr>
          <a:lstStyle/>
          <a:p>
            <a:r>
              <a:rPr lang="en-US" b="1" dirty="0"/>
              <a:t>Performance optimized </a:t>
            </a:r>
            <a:r>
              <a:rPr lang="en-US" b="1" dirty="0" smtClean="0"/>
              <a:t>compute </a:t>
            </a:r>
            <a:r>
              <a:rPr lang="en-US" sz="4000" b="1" dirty="0" smtClean="0">
                <a:solidFill>
                  <a:schemeClr val="tx1"/>
                </a:solidFill>
              </a:rPr>
              <a:t>Unparalleled </a:t>
            </a:r>
            <a:r>
              <a:rPr lang="en-US" sz="4000" b="1" dirty="0">
                <a:solidFill>
                  <a:schemeClr val="tx1"/>
                </a:solidFill>
              </a:rPr>
              <a:t>computational performance with latest CPUs, more memory, and more local SSD</a:t>
            </a:r>
            <a:endParaRPr lang="en-US" sz="4000"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238617208"/>
              </p:ext>
            </p:extLst>
          </p:nvPr>
        </p:nvGraphicFramePr>
        <p:xfrm>
          <a:off x="560796" y="2086882"/>
          <a:ext cx="11079824" cy="4565028"/>
        </p:xfrm>
        <a:graphic>
          <a:graphicData uri="http://schemas.openxmlformats.org/drawingml/2006/table">
            <a:tbl>
              <a:tblPr firstRow="1" bandRow="1">
                <a:tableStyleId>{073A0DAA-6AF3-43AB-8588-CEC1D06C72B9}</a:tableStyleId>
              </a:tblPr>
              <a:tblGrid>
                <a:gridCol w="2769956">
                  <a:extLst>
                    <a:ext uri="{9D8B030D-6E8A-4147-A177-3AD203B41FA5}">
                      <a16:colId xmlns:a16="http://schemas.microsoft.com/office/drawing/2014/main" xmlns="" val="20000"/>
                    </a:ext>
                  </a:extLst>
                </a:gridCol>
                <a:gridCol w="2769956">
                  <a:extLst>
                    <a:ext uri="{9D8B030D-6E8A-4147-A177-3AD203B41FA5}">
                      <a16:colId xmlns:a16="http://schemas.microsoft.com/office/drawing/2014/main" xmlns="" val="20001"/>
                    </a:ext>
                  </a:extLst>
                </a:gridCol>
                <a:gridCol w="2769956">
                  <a:extLst>
                    <a:ext uri="{9D8B030D-6E8A-4147-A177-3AD203B41FA5}">
                      <a16:colId xmlns:a16="http://schemas.microsoft.com/office/drawing/2014/main" xmlns="" val="20002"/>
                    </a:ext>
                  </a:extLst>
                </a:gridCol>
                <a:gridCol w="2769956">
                  <a:extLst>
                    <a:ext uri="{9D8B030D-6E8A-4147-A177-3AD203B41FA5}">
                      <a16:colId xmlns:a16="http://schemas.microsoft.com/office/drawing/2014/main" xmlns="" val="20003"/>
                    </a:ext>
                  </a:extLst>
                </a:gridCol>
              </a:tblGrid>
              <a:tr h="760838">
                <a:tc>
                  <a:txBody>
                    <a:bodyPr/>
                    <a:lstStyle/>
                    <a:p>
                      <a:r>
                        <a:rPr lang="en-US" sz="2800"/>
                        <a:t>Instance</a:t>
                      </a:r>
                    </a:p>
                  </a:txBody>
                  <a:tcPr marL="12485" marR="12485" marT="6242" marB="6242" anchor="ctr"/>
                </a:tc>
                <a:tc>
                  <a:txBody>
                    <a:bodyPr/>
                    <a:lstStyle/>
                    <a:p>
                      <a:r>
                        <a:rPr lang="en-US" sz="2800"/>
                        <a:t>Cores</a:t>
                      </a:r>
                    </a:p>
                  </a:txBody>
                  <a:tcPr marL="12485" marR="12485" marT="6242" marB="6242" anchor="ctr"/>
                </a:tc>
                <a:tc>
                  <a:txBody>
                    <a:bodyPr/>
                    <a:lstStyle/>
                    <a:p>
                      <a:r>
                        <a:rPr lang="en-US" sz="2800"/>
                        <a:t>RAM</a:t>
                      </a:r>
                    </a:p>
                  </a:txBody>
                  <a:tcPr marL="12485" marR="12485" marT="6242" marB="6242" anchor="ctr"/>
                </a:tc>
                <a:tc>
                  <a:txBody>
                    <a:bodyPr/>
                    <a:lstStyle/>
                    <a:p>
                      <a:r>
                        <a:rPr lang="en-US" sz="2800"/>
                        <a:t>Disk sizes</a:t>
                      </a:r>
                    </a:p>
                  </a:txBody>
                  <a:tcPr marL="12485" marR="12485" marT="6242" marB="6242" anchor="ctr"/>
                </a:tc>
                <a:extLst>
                  <a:ext uri="{0D108BD9-81ED-4DB2-BD59-A6C34878D82A}">
                    <a16:rowId xmlns:a16="http://schemas.microsoft.com/office/drawing/2014/main" xmlns="" val="10000"/>
                  </a:ext>
                </a:extLst>
              </a:tr>
              <a:tr h="760838">
                <a:tc>
                  <a:txBody>
                    <a:bodyPr/>
                    <a:lstStyle/>
                    <a:p>
                      <a:r>
                        <a:rPr lang="en-US" sz="2800"/>
                        <a:t>G1 </a:t>
                      </a:r>
                    </a:p>
                  </a:txBody>
                  <a:tcPr marL="12485" marR="12485" marT="6242" marB="6242" anchor="ctr"/>
                </a:tc>
                <a:tc>
                  <a:txBody>
                    <a:bodyPr/>
                    <a:lstStyle/>
                    <a:p>
                      <a:r>
                        <a:rPr lang="en-US" sz="2800" dirty="0"/>
                        <a:t>2</a:t>
                      </a:r>
                    </a:p>
                  </a:txBody>
                  <a:tcPr marL="12485" marR="12485" marT="6242" marB="6242" anchor="ctr"/>
                </a:tc>
                <a:tc>
                  <a:txBody>
                    <a:bodyPr/>
                    <a:lstStyle/>
                    <a:p>
                      <a:r>
                        <a:rPr lang="en-US" sz="2800"/>
                        <a:t>28 GB</a:t>
                      </a:r>
                    </a:p>
                  </a:txBody>
                  <a:tcPr marL="12485" marR="12485" marT="6242" marB="6242" anchor="ctr"/>
                </a:tc>
                <a:tc>
                  <a:txBody>
                    <a:bodyPr/>
                    <a:lstStyle/>
                    <a:p>
                      <a:r>
                        <a:rPr lang="en-US" sz="2800"/>
                        <a:t>384 GB</a:t>
                      </a:r>
                    </a:p>
                  </a:txBody>
                  <a:tcPr marL="12485" marR="12485" marT="6242" marB="6242" anchor="ctr"/>
                </a:tc>
                <a:extLst>
                  <a:ext uri="{0D108BD9-81ED-4DB2-BD59-A6C34878D82A}">
                    <a16:rowId xmlns:a16="http://schemas.microsoft.com/office/drawing/2014/main" xmlns="" val="10001"/>
                  </a:ext>
                </a:extLst>
              </a:tr>
              <a:tr h="760838">
                <a:tc>
                  <a:txBody>
                    <a:bodyPr/>
                    <a:lstStyle/>
                    <a:p>
                      <a:r>
                        <a:rPr lang="en-US" sz="2800"/>
                        <a:t>G2 </a:t>
                      </a:r>
                    </a:p>
                  </a:txBody>
                  <a:tcPr marL="12485" marR="12485" marT="6242" marB="6242" anchor="ctr"/>
                </a:tc>
                <a:tc>
                  <a:txBody>
                    <a:bodyPr/>
                    <a:lstStyle/>
                    <a:p>
                      <a:r>
                        <a:rPr lang="en-US" sz="2800"/>
                        <a:t>4</a:t>
                      </a:r>
                    </a:p>
                  </a:txBody>
                  <a:tcPr marL="12485" marR="12485" marT="6242" marB="6242" anchor="ctr"/>
                </a:tc>
                <a:tc>
                  <a:txBody>
                    <a:bodyPr/>
                    <a:lstStyle/>
                    <a:p>
                      <a:r>
                        <a:rPr lang="en-US" sz="2800"/>
                        <a:t>56 GB</a:t>
                      </a:r>
                    </a:p>
                  </a:txBody>
                  <a:tcPr marL="12485" marR="12485" marT="6242" marB="6242" anchor="ctr"/>
                </a:tc>
                <a:tc>
                  <a:txBody>
                    <a:bodyPr/>
                    <a:lstStyle/>
                    <a:p>
                      <a:r>
                        <a:rPr lang="en-US" sz="2800" dirty="0"/>
                        <a:t>768 GB</a:t>
                      </a:r>
                    </a:p>
                  </a:txBody>
                  <a:tcPr marL="12485" marR="12485" marT="6242" marB="6242" anchor="ctr"/>
                </a:tc>
                <a:extLst>
                  <a:ext uri="{0D108BD9-81ED-4DB2-BD59-A6C34878D82A}">
                    <a16:rowId xmlns:a16="http://schemas.microsoft.com/office/drawing/2014/main" xmlns="" val="10002"/>
                  </a:ext>
                </a:extLst>
              </a:tr>
              <a:tr h="760838">
                <a:tc>
                  <a:txBody>
                    <a:bodyPr/>
                    <a:lstStyle/>
                    <a:p>
                      <a:r>
                        <a:rPr lang="en-US" sz="2800"/>
                        <a:t>G3 </a:t>
                      </a:r>
                    </a:p>
                  </a:txBody>
                  <a:tcPr marL="12485" marR="12485" marT="6242" marB="6242" anchor="ctr"/>
                </a:tc>
                <a:tc>
                  <a:txBody>
                    <a:bodyPr/>
                    <a:lstStyle/>
                    <a:p>
                      <a:r>
                        <a:rPr lang="en-US" sz="2800"/>
                        <a:t>8</a:t>
                      </a:r>
                    </a:p>
                  </a:txBody>
                  <a:tcPr marL="12485" marR="12485" marT="6242" marB="6242" anchor="ctr"/>
                </a:tc>
                <a:tc>
                  <a:txBody>
                    <a:bodyPr/>
                    <a:lstStyle/>
                    <a:p>
                      <a:r>
                        <a:rPr lang="en-US" sz="2800"/>
                        <a:t>112 GB</a:t>
                      </a:r>
                    </a:p>
                  </a:txBody>
                  <a:tcPr marL="12485" marR="12485" marT="6242" marB="6242" anchor="ctr"/>
                </a:tc>
                <a:tc>
                  <a:txBody>
                    <a:bodyPr/>
                    <a:lstStyle/>
                    <a:p>
                      <a:r>
                        <a:rPr lang="en-US" sz="2800"/>
                        <a:t>1,536 GB</a:t>
                      </a:r>
                    </a:p>
                  </a:txBody>
                  <a:tcPr marL="12485" marR="12485" marT="6242" marB="6242" anchor="ctr"/>
                </a:tc>
                <a:extLst>
                  <a:ext uri="{0D108BD9-81ED-4DB2-BD59-A6C34878D82A}">
                    <a16:rowId xmlns:a16="http://schemas.microsoft.com/office/drawing/2014/main" xmlns="" val="10003"/>
                  </a:ext>
                </a:extLst>
              </a:tr>
              <a:tr h="760838">
                <a:tc>
                  <a:txBody>
                    <a:bodyPr/>
                    <a:lstStyle/>
                    <a:p>
                      <a:r>
                        <a:rPr lang="en-US" sz="2800"/>
                        <a:t>G4 </a:t>
                      </a:r>
                    </a:p>
                  </a:txBody>
                  <a:tcPr marL="12485" marR="12485" marT="6242" marB="6242" anchor="ctr"/>
                </a:tc>
                <a:tc>
                  <a:txBody>
                    <a:bodyPr/>
                    <a:lstStyle/>
                    <a:p>
                      <a:r>
                        <a:rPr lang="en-US" sz="2800"/>
                        <a:t>16</a:t>
                      </a:r>
                    </a:p>
                  </a:txBody>
                  <a:tcPr marL="12485" marR="12485" marT="6242" marB="6242" anchor="ctr"/>
                </a:tc>
                <a:tc>
                  <a:txBody>
                    <a:bodyPr/>
                    <a:lstStyle/>
                    <a:p>
                      <a:r>
                        <a:rPr lang="en-US" sz="2800"/>
                        <a:t>224 GB</a:t>
                      </a:r>
                    </a:p>
                  </a:txBody>
                  <a:tcPr marL="12485" marR="12485" marT="6242" marB="6242" anchor="ctr"/>
                </a:tc>
                <a:tc>
                  <a:txBody>
                    <a:bodyPr/>
                    <a:lstStyle/>
                    <a:p>
                      <a:r>
                        <a:rPr lang="en-US" sz="2800"/>
                        <a:t>3,072 GB</a:t>
                      </a:r>
                    </a:p>
                  </a:txBody>
                  <a:tcPr marL="12485" marR="12485" marT="6242" marB="6242" anchor="ctr"/>
                </a:tc>
                <a:extLst>
                  <a:ext uri="{0D108BD9-81ED-4DB2-BD59-A6C34878D82A}">
                    <a16:rowId xmlns:a16="http://schemas.microsoft.com/office/drawing/2014/main" xmlns="" val="10004"/>
                  </a:ext>
                </a:extLst>
              </a:tr>
              <a:tr h="760838">
                <a:tc>
                  <a:txBody>
                    <a:bodyPr/>
                    <a:lstStyle/>
                    <a:p>
                      <a:r>
                        <a:rPr lang="en-US" sz="2800"/>
                        <a:t>G5 </a:t>
                      </a:r>
                    </a:p>
                  </a:txBody>
                  <a:tcPr marL="12485" marR="12485" marT="6242" marB="6242" anchor="ctr"/>
                </a:tc>
                <a:tc>
                  <a:txBody>
                    <a:bodyPr/>
                    <a:lstStyle/>
                    <a:p>
                      <a:r>
                        <a:rPr lang="en-US" sz="2800"/>
                        <a:t>32</a:t>
                      </a:r>
                    </a:p>
                  </a:txBody>
                  <a:tcPr marL="12485" marR="12485" marT="6242" marB="6242" anchor="ctr"/>
                </a:tc>
                <a:tc>
                  <a:txBody>
                    <a:bodyPr/>
                    <a:lstStyle/>
                    <a:p>
                      <a:r>
                        <a:rPr lang="en-US" sz="2800"/>
                        <a:t>448 GB</a:t>
                      </a:r>
                    </a:p>
                  </a:txBody>
                  <a:tcPr marL="12485" marR="12485" marT="6242" marB="6242" anchor="ctr"/>
                </a:tc>
                <a:tc>
                  <a:txBody>
                    <a:bodyPr/>
                    <a:lstStyle/>
                    <a:p>
                      <a:r>
                        <a:rPr lang="en-US" sz="2800" dirty="0"/>
                        <a:t>6,144 GB</a:t>
                      </a:r>
                    </a:p>
                  </a:txBody>
                  <a:tcPr marL="12485" marR="12485" marT="6242" marB="6242" anchor="ct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282585028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a:t>Network </a:t>
            </a:r>
            <a:r>
              <a:rPr lang="en-US" b="1" dirty="0" smtClean="0"/>
              <a:t>optimized</a:t>
            </a:r>
            <a:br>
              <a:rPr lang="en-US" b="1" dirty="0" smtClean="0"/>
            </a:br>
            <a:r>
              <a:rPr lang="en-US" sz="4900" b="1" dirty="0">
                <a:solidFill>
                  <a:schemeClr val="tx1"/>
                </a:solidFill>
              </a:rPr>
              <a:t>F</a:t>
            </a:r>
            <a:r>
              <a:rPr lang="en-US" sz="4900" b="1" dirty="0" smtClean="0">
                <a:solidFill>
                  <a:schemeClr val="tx1"/>
                </a:solidFill>
              </a:rPr>
              <a:t>ast </a:t>
            </a:r>
            <a:r>
              <a:rPr lang="en-US" sz="4900" b="1" dirty="0">
                <a:solidFill>
                  <a:schemeClr val="tx1"/>
                </a:solidFill>
              </a:rPr>
              <a:t>networking with </a:t>
            </a:r>
            <a:r>
              <a:rPr lang="en-US" sz="4900" b="1" dirty="0" err="1">
                <a:solidFill>
                  <a:schemeClr val="tx1"/>
                </a:solidFill>
              </a:rPr>
              <a:t>Infiniband</a:t>
            </a:r>
            <a:r>
              <a:rPr lang="en-US" sz="4900" b="1" dirty="0">
                <a:solidFill>
                  <a:schemeClr val="tx1"/>
                </a:solidFill>
              </a:rPr>
              <a:t> </a:t>
            </a:r>
            <a:r>
              <a:rPr lang="en-US" sz="4900" b="1" dirty="0" smtClean="0">
                <a:solidFill>
                  <a:schemeClr val="tx1"/>
                </a:solidFill>
              </a:rPr>
              <a:t>support</a:t>
            </a:r>
            <a:br>
              <a:rPr lang="en-US" sz="4900" b="1" dirty="0" smtClean="0">
                <a:solidFill>
                  <a:schemeClr val="tx1"/>
                </a:solidFill>
              </a:rPr>
            </a:br>
            <a:r>
              <a:rPr lang="en-US" sz="3100" dirty="0">
                <a:solidFill>
                  <a:schemeClr val="tx1"/>
                </a:solidFill>
              </a:rPr>
              <a:t>Adds a 40Gbit/s </a:t>
            </a:r>
            <a:r>
              <a:rPr lang="en-US" sz="3100" dirty="0" err="1">
                <a:solidFill>
                  <a:schemeClr val="tx1"/>
                </a:solidFill>
              </a:rPr>
              <a:t>InfiniBand</a:t>
            </a:r>
            <a:r>
              <a:rPr lang="en-US" sz="3100" dirty="0">
                <a:solidFill>
                  <a:schemeClr val="tx1"/>
                </a:solidFill>
              </a:rPr>
              <a:t> network with remote direct memory access (RDMA) technology. Ideal for Message Passing Interface (MPI) applications, high-performance clusters, modeling and simulations, video encoding, and other compute or network intensive scenarios.</a:t>
            </a:r>
          </a:p>
        </p:txBody>
      </p:sp>
      <p:graphicFrame>
        <p:nvGraphicFramePr>
          <p:cNvPr id="3" name="Table 2"/>
          <p:cNvGraphicFramePr>
            <a:graphicFrameLocks noGrp="1"/>
          </p:cNvGraphicFramePr>
          <p:nvPr>
            <p:extLst>
              <p:ext uri="{D42A27DB-BD31-4B8C-83A1-F6EECF244321}">
                <p14:modId xmlns:p14="http://schemas.microsoft.com/office/powerpoint/2010/main" val="1467440609"/>
              </p:ext>
            </p:extLst>
          </p:nvPr>
        </p:nvGraphicFramePr>
        <p:xfrm>
          <a:off x="560798" y="3654425"/>
          <a:ext cx="11079824" cy="2550432"/>
        </p:xfrm>
        <a:graphic>
          <a:graphicData uri="http://schemas.openxmlformats.org/drawingml/2006/table">
            <a:tbl>
              <a:tblPr firstRow="1" bandRow="1">
                <a:tableStyleId>{073A0DAA-6AF3-43AB-8588-CEC1D06C72B9}</a:tableStyleId>
              </a:tblPr>
              <a:tblGrid>
                <a:gridCol w="2769956">
                  <a:extLst>
                    <a:ext uri="{9D8B030D-6E8A-4147-A177-3AD203B41FA5}">
                      <a16:colId xmlns:a16="http://schemas.microsoft.com/office/drawing/2014/main" xmlns="" val="20000"/>
                    </a:ext>
                  </a:extLst>
                </a:gridCol>
                <a:gridCol w="2769956">
                  <a:extLst>
                    <a:ext uri="{9D8B030D-6E8A-4147-A177-3AD203B41FA5}">
                      <a16:colId xmlns:a16="http://schemas.microsoft.com/office/drawing/2014/main" xmlns="" val="20001"/>
                    </a:ext>
                  </a:extLst>
                </a:gridCol>
                <a:gridCol w="2769956">
                  <a:extLst>
                    <a:ext uri="{9D8B030D-6E8A-4147-A177-3AD203B41FA5}">
                      <a16:colId xmlns:a16="http://schemas.microsoft.com/office/drawing/2014/main" xmlns="" val="20002"/>
                    </a:ext>
                  </a:extLst>
                </a:gridCol>
                <a:gridCol w="2769956">
                  <a:extLst>
                    <a:ext uri="{9D8B030D-6E8A-4147-A177-3AD203B41FA5}">
                      <a16:colId xmlns:a16="http://schemas.microsoft.com/office/drawing/2014/main" xmlns="" val="20003"/>
                    </a:ext>
                  </a:extLst>
                </a:gridCol>
              </a:tblGrid>
              <a:tr h="850144">
                <a:tc>
                  <a:txBody>
                    <a:bodyPr/>
                    <a:lstStyle/>
                    <a:p>
                      <a:r>
                        <a:rPr lang="en-US" sz="2800"/>
                        <a:t>Instance</a:t>
                      </a:r>
                    </a:p>
                  </a:txBody>
                  <a:tcPr marL="37774" marR="37774" marT="18887" marB="18887" anchor="ctr"/>
                </a:tc>
                <a:tc>
                  <a:txBody>
                    <a:bodyPr/>
                    <a:lstStyle/>
                    <a:p>
                      <a:r>
                        <a:rPr lang="en-US" sz="2800" dirty="0"/>
                        <a:t>Cores</a:t>
                      </a:r>
                    </a:p>
                  </a:txBody>
                  <a:tcPr marL="37774" marR="37774" marT="18887" marB="18887" anchor="ctr"/>
                </a:tc>
                <a:tc>
                  <a:txBody>
                    <a:bodyPr/>
                    <a:lstStyle/>
                    <a:p>
                      <a:r>
                        <a:rPr lang="en-US" sz="2800"/>
                        <a:t>RAM</a:t>
                      </a:r>
                    </a:p>
                  </a:txBody>
                  <a:tcPr marL="37774" marR="37774" marT="18887" marB="18887" anchor="ctr"/>
                </a:tc>
                <a:tc>
                  <a:txBody>
                    <a:bodyPr/>
                    <a:lstStyle/>
                    <a:p>
                      <a:r>
                        <a:rPr lang="en-US" sz="2800"/>
                        <a:t>Disk sizes</a:t>
                      </a:r>
                    </a:p>
                  </a:txBody>
                  <a:tcPr marL="37774" marR="37774" marT="18887" marB="18887" anchor="ctr"/>
                </a:tc>
                <a:extLst>
                  <a:ext uri="{0D108BD9-81ED-4DB2-BD59-A6C34878D82A}">
                    <a16:rowId xmlns:a16="http://schemas.microsoft.com/office/drawing/2014/main" xmlns="" val="10000"/>
                  </a:ext>
                </a:extLst>
              </a:tr>
              <a:tr h="850144">
                <a:tc>
                  <a:txBody>
                    <a:bodyPr/>
                    <a:lstStyle/>
                    <a:p>
                      <a:r>
                        <a:rPr lang="en-US" sz="2800"/>
                        <a:t>A8 </a:t>
                      </a:r>
                    </a:p>
                  </a:txBody>
                  <a:tcPr marL="37774" marR="37774" marT="18887" marB="18887" anchor="ctr"/>
                </a:tc>
                <a:tc>
                  <a:txBody>
                    <a:bodyPr/>
                    <a:lstStyle/>
                    <a:p>
                      <a:r>
                        <a:rPr lang="en-US" sz="2800"/>
                        <a:t>8</a:t>
                      </a:r>
                    </a:p>
                  </a:txBody>
                  <a:tcPr marL="37774" marR="37774" marT="18887" marB="18887" anchor="ctr"/>
                </a:tc>
                <a:tc>
                  <a:txBody>
                    <a:bodyPr/>
                    <a:lstStyle/>
                    <a:p>
                      <a:r>
                        <a:rPr lang="en-US" sz="2800" dirty="0"/>
                        <a:t>56 GB</a:t>
                      </a:r>
                    </a:p>
                  </a:txBody>
                  <a:tcPr marL="37774" marR="37774" marT="18887" marB="18887" anchor="ctr"/>
                </a:tc>
                <a:tc>
                  <a:txBody>
                    <a:bodyPr/>
                    <a:lstStyle/>
                    <a:p>
                      <a:r>
                        <a:rPr lang="en-US" sz="2800"/>
                        <a:t>382 GB</a:t>
                      </a:r>
                    </a:p>
                  </a:txBody>
                  <a:tcPr marL="37774" marR="37774" marT="18887" marB="18887" anchor="ctr"/>
                </a:tc>
                <a:extLst>
                  <a:ext uri="{0D108BD9-81ED-4DB2-BD59-A6C34878D82A}">
                    <a16:rowId xmlns:a16="http://schemas.microsoft.com/office/drawing/2014/main" xmlns="" val="10001"/>
                  </a:ext>
                </a:extLst>
              </a:tr>
              <a:tr h="850144">
                <a:tc>
                  <a:txBody>
                    <a:bodyPr/>
                    <a:lstStyle/>
                    <a:p>
                      <a:r>
                        <a:rPr lang="en-US" sz="2800"/>
                        <a:t>A9 </a:t>
                      </a:r>
                    </a:p>
                  </a:txBody>
                  <a:tcPr marL="37774" marR="37774" marT="18887" marB="18887" anchor="ctr"/>
                </a:tc>
                <a:tc>
                  <a:txBody>
                    <a:bodyPr/>
                    <a:lstStyle/>
                    <a:p>
                      <a:r>
                        <a:rPr lang="en-US" sz="2800" dirty="0"/>
                        <a:t>16</a:t>
                      </a:r>
                    </a:p>
                  </a:txBody>
                  <a:tcPr marL="37774" marR="37774" marT="18887" marB="18887" anchor="ctr"/>
                </a:tc>
                <a:tc>
                  <a:txBody>
                    <a:bodyPr/>
                    <a:lstStyle/>
                    <a:p>
                      <a:r>
                        <a:rPr lang="en-US" sz="2800"/>
                        <a:t>112 GB</a:t>
                      </a:r>
                    </a:p>
                  </a:txBody>
                  <a:tcPr marL="37774" marR="37774" marT="18887" marB="18887" anchor="ctr"/>
                </a:tc>
                <a:tc>
                  <a:txBody>
                    <a:bodyPr/>
                    <a:lstStyle/>
                    <a:p>
                      <a:r>
                        <a:rPr lang="en-US" sz="2800" dirty="0"/>
                        <a:t>382 GB</a:t>
                      </a:r>
                    </a:p>
                  </a:txBody>
                  <a:tcPr marL="37774" marR="37774" marT="18887" marB="18887" anchor="ct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410065846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Provisioning VM</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VMs using Azure portal</a:t>
            </a:r>
            <a:endParaRPr lang="en-US" sz="4400" dirty="0">
              <a:latin typeface="+mj-lt"/>
            </a:endParaRPr>
          </a:p>
        </p:txBody>
      </p:sp>
    </p:spTree>
    <p:extLst>
      <p:ext uri="{BB962C8B-B14F-4D97-AF65-F5344CB8AC3E}">
        <p14:creationId xmlns:p14="http://schemas.microsoft.com/office/powerpoint/2010/main" val="14775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3" name="Content Placeholder 2"/>
          <p:cNvSpPr>
            <a:spLocks noGrp="1"/>
          </p:cNvSpPr>
          <p:nvPr>
            <p:ph idx="1"/>
          </p:nvPr>
        </p:nvSpPr>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7</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234049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a:t>
            </a:r>
            <a:r>
              <a:rPr lang="en-US" altLang="zh-CN" dirty="0" smtClean="0"/>
              <a:t>VM Extension</a:t>
            </a:r>
            <a:endParaRPr lang="en-US" dirty="0"/>
          </a:p>
        </p:txBody>
      </p:sp>
      <p:sp>
        <p:nvSpPr>
          <p:cNvPr id="3" name="Subtitle 2"/>
          <p:cNvSpPr>
            <a:spLocks noGrp="1"/>
          </p:cNvSpPr>
          <p:nvPr>
            <p:ph type="subTitle" idx="1"/>
          </p:nvPr>
        </p:nvSpPr>
        <p:spPr/>
        <p:txBody>
          <a:bodyPr>
            <a:normAutofit/>
          </a:bodyPr>
          <a:lstStyle/>
          <a:p>
            <a:r>
              <a:rPr lang="en-US" altLang="zh-CN" sz="4400" dirty="0" smtClean="0">
                <a:latin typeface="+mj-lt"/>
              </a:rPr>
              <a:t>Add extension to VM instance</a:t>
            </a:r>
            <a:endParaRPr lang="en-US" sz="4400" dirty="0">
              <a:latin typeface="+mj-lt"/>
            </a:endParaRPr>
          </a:p>
        </p:txBody>
      </p:sp>
    </p:spTree>
    <p:extLst>
      <p:ext uri="{BB962C8B-B14F-4D97-AF65-F5344CB8AC3E}">
        <p14:creationId xmlns:p14="http://schemas.microsoft.com/office/powerpoint/2010/main" val="3336415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12" name="Picture 11"/>
          <p:cNvPicPr>
            <a:picLocks noChangeAspect="1"/>
          </p:cNvPicPr>
          <p:nvPr/>
        </p:nvPicPr>
        <p:blipFill>
          <a:blip r:embed="rId3"/>
          <a:stretch>
            <a:fillRect/>
          </a:stretch>
        </p:blipFill>
        <p:spPr>
          <a:xfrm>
            <a:off x="1711654" y="1796655"/>
            <a:ext cx="8778109" cy="3962860"/>
          </a:xfrm>
          <a:prstGeom prst="rect">
            <a:avLst/>
          </a:prstGeom>
          <a:ln w="76200">
            <a:solidFill>
              <a:srgbClr val="012456"/>
            </a:solidFill>
          </a:ln>
        </p:spPr>
      </p:pic>
      <p:sp>
        <p:nvSpPr>
          <p:cNvPr id="6" name="TextBox 5"/>
          <p:cNvSpPr txBox="1"/>
          <p:nvPr/>
        </p:nvSpPr>
        <p:spPr>
          <a:xfrm>
            <a:off x="1711654" y="1312311"/>
            <a:ext cx="5412261" cy="369332"/>
          </a:xfrm>
          <a:prstGeom prst="rect">
            <a:avLst/>
          </a:prstGeom>
          <a:noFill/>
        </p:spPr>
        <p:txBody>
          <a:bodyPr wrap="square" rtlCol="0">
            <a:spAutoFit/>
          </a:bodyPr>
          <a:lstStyle/>
          <a:p>
            <a:r>
              <a:rPr lang="en-US" dirty="0" smtClean="0"/>
              <a:t>List available VM extensions</a:t>
            </a:r>
            <a:endParaRPr lang="en-US" dirty="0"/>
          </a:p>
        </p:txBody>
      </p:sp>
    </p:spTree>
    <p:extLst>
      <p:ext uri="{BB962C8B-B14F-4D97-AF65-F5344CB8AC3E}">
        <p14:creationId xmlns:p14="http://schemas.microsoft.com/office/powerpoint/2010/main" val="139369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pPr marL="571500" indent="-571500">
              <a:buFont typeface="Wingdings" panose="05000000000000000000" pitchFamily="2" charset="2"/>
              <a:buChar char="à"/>
            </a:pPr>
            <a:r>
              <a:rPr lang="en-US" dirty="0" smtClean="0">
                <a:solidFill>
                  <a:schemeClr val="bg1"/>
                </a:solidFill>
                <a:sym typeface="Wingdings" panose="05000000000000000000" pitchFamily="2" charset="2"/>
              </a:rPr>
              <a:t>Virtual machines</a:t>
            </a:r>
          </a:p>
          <a:p>
            <a:pPr marL="571500" indent="-571500">
              <a:buFont typeface="Wingdings" panose="05000000000000000000" pitchFamily="2" charset="2"/>
              <a:buChar char="à"/>
            </a:pPr>
            <a:r>
              <a:rPr lang="en-US" dirty="0" smtClean="0">
                <a:solidFill>
                  <a:schemeClr val="bg1"/>
                </a:solidFill>
                <a:sym typeface="Wingdings" panose="05000000000000000000" pitchFamily="2" charset="2"/>
              </a:rPr>
              <a:t>Virtual Networks</a:t>
            </a:r>
          </a:p>
          <a:p>
            <a:pPr marL="571500" indent="-571500">
              <a:buFont typeface="Wingdings" panose="05000000000000000000" pitchFamily="2" charset="2"/>
              <a:buChar char="à"/>
            </a:pPr>
            <a:r>
              <a:rPr lang="en-US" dirty="0" smtClean="0">
                <a:solidFill>
                  <a:schemeClr val="bg1"/>
                </a:solidFill>
                <a:sym typeface="Wingdings" panose="05000000000000000000" pitchFamily="2" charset="2"/>
              </a:rPr>
              <a:t>Availability Sets</a:t>
            </a:r>
          </a:p>
          <a:p>
            <a:pPr marL="571500" indent="-571500">
              <a:buFont typeface="Wingdings" panose="05000000000000000000" pitchFamily="2" charset="2"/>
              <a:buChar char="à"/>
            </a:pPr>
            <a:r>
              <a:rPr lang="en-US" dirty="0" smtClean="0">
                <a:solidFill>
                  <a:schemeClr val="bg1"/>
                </a:solidFill>
                <a:sym typeface="Wingdings" panose="05000000000000000000" pitchFamily="2" charset="2"/>
              </a:rPr>
              <a:t>Scaling</a:t>
            </a:r>
          </a:p>
          <a:p>
            <a:endParaRPr lang="en-US" dirty="0" smtClean="0">
              <a:solidFill>
                <a:schemeClr val="bg1"/>
              </a:solidFill>
              <a:sym typeface="Wingdings" panose="05000000000000000000" pitchFamily="2" charset="2"/>
            </a:endParaRPr>
          </a:p>
        </p:txBody>
      </p:sp>
    </p:spTree>
    <p:extLst>
      <p:ext uri="{BB962C8B-B14F-4D97-AF65-F5344CB8AC3E}">
        <p14:creationId xmlns:p14="http://schemas.microsoft.com/office/powerpoint/2010/main" val="108330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0</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3" name="Picture 2"/>
          <p:cNvPicPr>
            <a:picLocks noChangeAspect="1"/>
          </p:cNvPicPr>
          <p:nvPr/>
        </p:nvPicPr>
        <p:blipFill>
          <a:blip r:embed="rId3"/>
          <a:stretch>
            <a:fillRect/>
          </a:stretch>
        </p:blipFill>
        <p:spPr>
          <a:xfrm>
            <a:off x="716690" y="4510231"/>
            <a:ext cx="10798817" cy="1186234"/>
          </a:xfrm>
          <a:prstGeom prst="rect">
            <a:avLst/>
          </a:prstGeom>
          <a:ln w="76200">
            <a:solidFill>
              <a:srgbClr val="012456"/>
            </a:solidFill>
          </a:ln>
        </p:spPr>
      </p:pic>
      <p:pic>
        <p:nvPicPr>
          <p:cNvPr id="5" name="Picture 4"/>
          <p:cNvPicPr>
            <a:picLocks noChangeAspect="1"/>
          </p:cNvPicPr>
          <p:nvPr/>
        </p:nvPicPr>
        <p:blipFill>
          <a:blip r:embed="rId4"/>
          <a:stretch>
            <a:fillRect/>
          </a:stretch>
        </p:blipFill>
        <p:spPr>
          <a:xfrm>
            <a:off x="716690" y="2214522"/>
            <a:ext cx="10798817" cy="1735957"/>
          </a:xfrm>
          <a:prstGeom prst="rect">
            <a:avLst/>
          </a:prstGeom>
          <a:ln w="76200">
            <a:solidFill>
              <a:srgbClr val="012456"/>
            </a:solidFill>
          </a:ln>
        </p:spPr>
      </p:pic>
      <p:sp>
        <p:nvSpPr>
          <p:cNvPr id="6" name="TextBox 5"/>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
        <p:nvSpPr>
          <p:cNvPr id="9" name="TextBox 8"/>
          <p:cNvSpPr txBox="1"/>
          <p:nvPr/>
        </p:nvSpPr>
        <p:spPr>
          <a:xfrm>
            <a:off x="703837" y="4090437"/>
            <a:ext cx="5412261" cy="369332"/>
          </a:xfrm>
          <a:prstGeom prst="rect">
            <a:avLst/>
          </a:prstGeom>
          <a:noFill/>
        </p:spPr>
        <p:txBody>
          <a:bodyPr wrap="square" rtlCol="0">
            <a:spAutoFit/>
          </a:bodyPr>
          <a:lstStyle/>
          <a:p>
            <a:r>
              <a:rPr lang="en-US" dirty="0" smtClean="0"/>
              <a:t>Script execution result</a:t>
            </a:r>
            <a:endParaRPr lang="en-US" dirty="0"/>
          </a:p>
        </p:txBody>
      </p:sp>
    </p:spTree>
    <p:extLst>
      <p:ext uri="{BB962C8B-B14F-4D97-AF65-F5344CB8AC3E}">
        <p14:creationId xmlns:p14="http://schemas.microsoft.com/office/powerpoint/2010/main" val="499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Data Persistence</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D</a:t>
            </a:r>
            <a:r>
              <a:rPr lang="en-US" altLang="zh-CN" dirty="0" smtClean="0">
                <a:solidFill>
                  <a:schemeClr val="bg2"/>
                </a:solidFill>
                <a:latin typeface="+mj-lt"/>
                <a:sym typeface="Wingdings" panose="05000000000000000000" pitchFamily="2" charset="2"/>
              </a:rPr>
              <a:t>ata Disk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Azure </a:t>
            </a:r>
            <a:r>
              <a:rPr lang="en-US" altLang="zh-CN" dirty="0" smtClean="0">
                <a:solidFill>
                  <a:schemeClr val="bg1"/>
                </a:solidFill>
                <a:latin typeface="+mj-lt"/>
                <a:sym typeface="Wingdings" panose="05000000000000000000" pitchFamily="2" charset="2"/>
              </a:rPr>
              <a:t>Files</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0533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249120456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7220" y="4065932"/>
            <a:ext cx="1234260" cy="572238"/>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1602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 </a:t>
            </a:r>
            <a:r>
              <a:rPr lang="en-US" dirty="0" smtClean="0"/>
              <a:t>layout - Windows</a:t>
            </a:r>
            <a:endParaRPr lang="en-US" dirty="0"/>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388490326"/>
      </p:ext>
    </p:extLst>
  </p:cSld>
  <p:clrMapOvr>
    <a:masterClrMapping/>
  </p:clrMapOvr>
  <p:transition advTm="16679">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a:stretch>
            <a:fillRect/>
          </a:stretch>
        </p:blipFill>
        <p:spPr>
          <a:xfrm>
            <a:off x="1844549" y="1826221"/>
            <a:ext cx="7947389" cy="5885026"/>
          </a:xfrm>
          <a:prstGeom prst="rect">
            <a:avLst/>
          </a:prstGeom>
        </p:spPr>
      </p:pic>
      <p:sp>
        <p:nvSpPr>
          <p:cNvPr id="2" name="Title 1"/>
          <p:cNvSpPr>
            <a:spLocks noGrp="1"/>
          </p:cNvSpPr>
          <p:nvPr>
            <p:ph type="title"/>
          </p:nvPr>
        </p:nvSpPr>
        <p:spPr/>
        <p:txBody>
          <a:bodyPr/>
          <a:lstStyle/>
          <a:p>
            <a:r>
              <a:rPr lang="en-US" dirty="0"/>
              <a:t>VM disk </a:t>
            </a:r>
            <a:r>
              <a:rPr lang="en-US" dirty="0" smtClean="0"/>
              <a:t>layout - Linux</a:t>
            </a:r>
            <a:endParaRPr lang="en-US" dirty="0"/>
          </a:p>
        </p:txBody>
      </p:sp>
      <p:cxnSp>
        <p:nvCxnSpPr>
          <p:cNvPr id="13" name="Straight Arrow Connector 12"/>
          <p:cNvCxnSpPr/>
          <p:nvPr/>
        </p:nvCxnSpPr>
        <p:spPr>
          <a:xfrm flipH="1">
            <a:off x="5173108" y="2518518"/>
            <a:ext cx="544299" cy="364681"/>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7665677" y="2599978"/>
            <a:ext cx="4403266"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SATA </a:t>
            </a:r>
            <a:endParaRPr lang="en-US" sz="2199" dirty="0">
              <a:solidFill>
                <a:srgbClr val="FFFFFF">
                  <a:alpha val="98824"/>
                </a:srgbClr>
              </a:solidFill>
              <a:latin typeface="Segoe UI" pitchFamily="34" charset="0"/>
              <a:ea typeface="Segoe UI" pitchFamily="34" charset="0"/>
              <a:cs typeface="Segoe UI" pitchFamily="34" charset="0"/>
            </a:endParaRP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Ubuntu: /</a:t>
            </a:r>
            <a:r>
              <a:rPr lang="en-US" sz="2199" dirty="0" err="1" smtClean="0">
                <a:solidFill>
                  <a:srgbClr val="FFFFFF">
                    <a:alpha val="98824"/>
                  </a:srgbClr>
                </a:solidFill>
                <a:latin typeface="Segoe UI" pitchFamily="34" charset="0"/>
                <a:ea typeface="Segoe UI" pitchFamily="34" charset="0"/>
                <a:cs typeface="Segoe UI" pitchFamily="34" charset="0"/>
              </a:rPr>
              <a:t>mnt</a:t>
            </a:r>
            <a:endParaRPr lang="en-US" sz="2199" dirty="0" smtClean="0">
              <a:solidFill>
                <a:srgbClr val="FFFFFF">
                  <a:alpha val="98824"/>
                </a:srgbClr>
              </a:solidFill>
              <a:latin typeface="Segoe UI" pitchFamily="34" charset="0"/>
              <a:ea typeface="Segoe UI" pitchFamily="34" charset="0"/>
              <a:cs typeface="Segoe UI" pitchFamily="34" charset="0"/>
            </a:endParaRP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Others: /</a:t>
            </a:r>
            <a:r>
              <a:rPr lang="en-US" sz="2199" dirty="0" err="1" smtClean="0">
                <a:solidFill>
                  <a:srgbClr val="FFFFFF">
                    <a:alpha val="98824"/>
                  </a:srgbClr>
                </a:solidFill>
                <a:latin typeface="Segoe UI" pitchFamily="34" charset="0"/>
                <a:ea typeface="Segoe UI" pitchFamily="34" charset="0"/>
                <a:cs typeface="Segoe UI" pitchFamily="34" charset="0"/>
              </a:rPr>
              <a:t>mnt</a:t>
            </a:r>
            <a:r>
              <a:rPr lang="en-US" sz="2199" dirty="0" smtClean="0">
                <a:solidFill>
                  <a:srgbClr val="FFFFFF">
                    <a:alpha val="98824"/>
                  </a:srgbClr>
                </a:solidFill>
                <a:latin typeface="Segoe UI" pitchFamily="34" charset="0"/>
                <a:ea typeface="Segoe UI" pitchFamily="34" charset="0"/>
                <a:cs typeface="Segoe UI" pitchFamily="34" charset="0"/>
              </a:rPr>
              <a:t>/resource</a:t>
            </a:r>
            <a:endParaRPr lang="en-US" sz="2199" dirty="0">
              <a:solidFill>
                <a:srgbClr val="FFFFFF">
                  <a:alpha val="98824"/>
                </a:srgbClr>
              </a:solidFill>
              <a:latin typeface="Segoe UI" pitchFamily="34" charset="0"/>
              <a:ea typeface="Segoe UI" pitchFamily="34" charset="0"/>
              <a:cs typeface="Segoe UI" pitchFamily="34" charset="0"/>
            </a:endParaRPr>
          </a:p>
        </p:txBody>
      </p:sp>
      <p:cxnSp>
        <p:nvCxnSpPr>
          <p:cNvPr id="10" name="Straight Arrow Connector 9"/>
          <p:cNvCxnSpPr/>
          <p:nvPr/>
        </p:nvCxnSpPr>
        <p:spPr>
          <a:xfrm flipH="1" flipV="1">
            <a:off x="5173108" y="3303684"/>
            <a:ext cx="2524540" cy="55001"/>
          </a:xfrm>
          <a:prstGeom prst="straightConnector1">
            <a:avLst/>
          </a:prstGeom>
          <a:ln w="57150">
            <a:solidFill>
              <a:srgbClr val="00B0F0"/>
            </a:solidFill>
            <a:tailEnd type="arrow"/>
          </a:ln>
        </p:spPr>
        <p:style>
          <a:lnRef idx="3">
            <a:schemeClr val="accent2"/>
          </a:lnRef>
          <a:fillRef idx="0">
            <a:schemeClr val="accent2"/>
          </a:fillRef>
          <a:effectRef idx="2">
            <a:schemeClr val="accent2"/>
          </a:effectRef>
          <a:fontRef idx="minor">
            <a:schemeClr val="tx1"/>
          </a:fontRef>
        </p:style>
      </p:cxnSp>
      <p:cxnSp>
        <p:nvCxnSpPr>
          <p:cNvPr id="12" name="Straight Arrow Connector 11"/>
          <p:cNvCxnSpPr/>
          <p:nvPr/>
        </p:nvCxnSpPr>
        <p:spPr>
          <a:xfrm flipH="1" flipV="1">
            <a:off x="5173108" y="3737837"/>
            <a:ext cx="1868037" cy="1190298"/>
          </a:xfrm>
          <a:prstGeom prst="straightConnector1">
            <a:avLst/>
          </a:prstGeom>
          <a:ln w="57150">
            <a:solidFill>
              <a:srgbClr val="548235"/>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699005" y="1225980"/>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SATA</a:t>
            </a:r>
            <a:endParaRPr lang="en-US" sz="2199" dirty="0">
              <a:solidFill>
                <a:srgbClr val="FFFFFF">
                  <a:alpha val="98824"/>
                </a:srgbClr>
              </a:solidFill>
              <a:latin typeface="Segoe UI" pitchFamily="34" charset="0"/>
              <a:ea typeface="Segoe UI" pitchFamily="34" charset="0"/>
              <a:cs typeface="Segoe UI" pitchFamily="34" charset="0"/>
            </a:endParaRPr>
          </a:p>
        </p:txBody>
      </p:sp>
      <p:sp>
        <p:nvSpPr>
          <p:cNvPr id="11" name="Rectangle 10"/>
          <p:cNvSpPr/>
          <p:nvPr/>
        </p:nvSpPr>
        <p:spPr bwMode="auto">
          <a:xfrm>
            <a:off x="6560695" y="4573995"/>
            <a:ext cx="524183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User Defined Mount Location</a:t>
            </a:r>
            <a:endParaRPr lang="en-US" sz="2199"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076052349"/>
      </p:ext>
    </p:extLst>
  </p:cSld>
  <p:clrMapOvr>
    <a:masterClrMapping/>
  </p:clrMapOvr>
  <p:transition advTm="16679">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22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a:t>
            </a:r>
            <a:endParaRPr lang="en-US" sz="1765" dirty="0">
              <a:gradFill>
                <a:gsLst>
                  <a:gs pos="1250">
                    <a:schemeClr val="tx2"/>
                  </a:gs>
                  <a:gs pos="100000">
                    <a:schemeClr val="tx2"/>
                  </a:gs>
                </a:gsLst>
                <a:lin ang="5400000" scaled="0"/>
              </a:gradFill>
            </a:endParaRPr>
          </a:p>
        </p:txBody>
      </p:sp>
      <p:sp>
        <p:nvSpPr>
          <p:cNvPr id="4" name="Content Placeholder 2"/>
          <p:cNvSpPr txBox="1">
            <a:spLocks/>
          </p:cNvSpPr>
          <p:nvPr/>
        </p:nvSpPr>
        <p:spPr>
          <a:xfrm>
            <a:off x="270066" y="1189814"/>
            <a:ext cx="11651870" cy="72404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hared Network File Storage for Azure</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Availability, durability, scalability are managed automatically</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upports two interfaces: SMB and REST</a:t>
            </a:r>
          </a:p>
          <a:p>
            <a:pPr>
              <a:buClr>
                <a:srgbClr val="FFFFFF"/>
              </a:buClr>
              <a:buFont typeface="Arial" panose="020B0604020202020204" pitchFamily="34" charset="0"/>
              <a:buChar char="•"/>
            </a:pPr>
            <a:endParaRPr lang="en-US" sz="3920" dirty="0">
              <a:gradFill>
                <a:gsLst>
                  <a:gs pos="1250">
                    <a:srgbClr val="FFFFFF"/>
                  </a:gs>
                  <a:gs pos="100000">
                    <a:srgbClr val="FFFFFF"/>
                  </a:gs>
                </a:gsLst>
                <a:lin ang="5400000" scaled="0"/>
              </a:gradFill>
            </a:endParaRPr>
          </a:p>
        </p:txBody>
      </p:sp>
      <p:sp>
        <p:nvSpPr>
          <p:cNvPr id="5" name="Flowchart: Process 4"/>
          <p:cNvSpPr/>
          <p:nvPr/>
        </p:nvSpPr>
        <p:spPr bwMode="auto">
          <a:xfrm>
            <a:off x="2549607"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7" name="Flowchart: Process 6"/>
          <p:cNvSpPr/>
          <p:nvPr/>
        </p:nvSpPr>
        <p:spPr bwMode="auto">
          <a:xfrm>
            <a:off x="415698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8" name="Flowchart: Process 7"/>
          <p:cNvSpPr/>
          <p:nvPr/>
        </p:nvSpPr>
        <p:spPr bwMode="auto">
          <a:xfrm>
            <a:off x="572696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9" name="Flowchart: Process 8"/>
          <p:cNvSpPr/>
          <p:nvPr/>
        </p:nvSpPr>
        <p:spPr bwMode="auto">
          <a:xfrm>
            <a:off x="7299204"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10" name="Cloud 9"/>
          <p:cNvSpPr/>
          <p:nvPr/>
        </p:nvSpPr>
        <p:spPr bwMode="auto">
          <a:xfrm>
            <a:off x="3409354" y="4790187"/>
            <a:ext cx="4212554" cy="1575124"/>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File Share</a:t>
            </a: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t>
            </a: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a:t>
            </a:r>
          </a:p>
        </p:txBody>
      </p:sp>
      <p:cxnSp>
        <p:nvCxnSpPr>
          <p:cNvPr id="12" name="Straight Arrow Connector 11"/>
          <p:cNvCxnSpPr/>
          <p:nvPr/>
        </p:nvCxnSpPr>
        <p:spPr>
          <a:xfrm>
            <a:off x="3236936" y="4290607"/>
            <a:ext cx="746733" cy="6406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p:cNvCxnSpPr>
          <p:nvPr/>
        </p:nvCxnSpPr>
        <p:spPr>
          <a:xfrm>
            <a:off x="4874010" y="4303849"/>
            <a:ext cx="0" cy="53777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6456733" y="4303849"/>
            <a:ext cx="0" cy="48633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7295458" y="4342044"/>
            <a:ext cx="684966" cy="4995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094946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70066" y="1189812"/>
            <a:ext cx="11651870" cy="4224169"/>
          </a:xfrm>
          <a:prstGeom prst="rect">
            <a:avLst/>
          </a:prstGeom>
        </p:spPr>
        <p:txBody>
          <a:bodyPr>
            <a:normAutofit fontScale="77500" lnSpcReduction="20000"/>
          </a:bodyPr>
          <a:lstStyle/>
          <a:p>
            <a:pPr>
              <a:lnSpc>
                <a:spcPct val="120000"/>
              </a:lnSpc>
              <a:buFont typeface="Arial" panose="020B0604020202020204" pitchFamily="34" charset="0"/>
              <a:buChar char="•"/>
            </a:pPr>
            <a:r>
              <a:rPr lang="en-US" dirty="0" smtClean="0"/>
              <a:t>Share </a:t>
            </a:r>
            <a:r>
              <a:rPr lang="en-US" dirty="0"/>
              <a:t>data </a:t>
            </a:r>
            <a:r>
              <a:rPr lang="en-US" dirty="0" smtClean="0"/>
              <a:t>across VMs and applications</a:t>
            </a:r>
          </a:p>
          <a:p>
            <a:pPr lvl="1">
              <a:lnSpc>
                <a:spcPct val="120000"/>
              </a:lnSpc>
              <a:buFont typeface="Arial" panose="020B0604020202020204" pitchFamily="34" charset="0"/>
              <a:buChar char="•"/>
            </a:pPr>
            <a:r>
              <a:rPr lang="en-US" dirty="0" smtClean="0">
                <a:latin typeface="+mj-lt"/>
              </a:rPr>
              <a:t>Multiple writers, multiple readers using standard file system semantics.</a:t>
            </a:r>
          </a:p>
          <a:p>
            <a:pPr>
              <a:lnSpc>
                <a:spcPct val="120000"/>
              </a:lnSpc>
              <a:buFont typeface="Arial" panose="020B0604020202020204" pitchFamily="34" charset="0"/>
              <a:buChar char="•"/>
            </a:pPr>
            <a:r>
              <a:rPr lang="en-US" dirty="0" smtClean="0"/>
              <a:t>Share settings throughout services</a:t>
            </a:r>
          </a:p>
          <a:p>
            <a:pPr lvl="1">
              <a:lnSpc>
                <a:spcPct val="120000"/>
              </a:lnSpc>
              <a:buFont typeface="Arial" panose="020B0604020202020204" pitchFamily="34" charset="0"/>
              <a:buChar char="•"/>
            </a:pPr>
            <a:r>
              <a:rPr lang="en-US" dirty="0" smtClean="0">
                <a:latin typeface="+mj-lt"/>
              </a:rPr>
              <a:t>VMs can read settings and files from a common, shared location.  These can be updated externally via REST.</a:t>
            </a:r>
          </a:p>
          <a:p>
            <a:pPr>
              <a:lnSpc>
                <a:spcPct val="120000"/>
              </a:lnSpc>
              <a:buFont typeface="Arial" panose="020B0604020202020204" pitchFamily="34" charset="0"/>
              <a:buChar char="•"/>
            </a:pPr>
            <a:r>
              <a:rPr lang="en-US" dirty="0" smtClean="0"/>
              <a:t>Dev/Test/Debug</a:t>
            </a:r>
          </a:p>
          <a:p>
            <a:pPr lvl="1">
              <a:lnSpc>
                <a:spcPct val="120000"/>
              </a:lnSpc>
              <a:buFont typeface="Arial" panose="020B0604020202020204" pitchFamily="34" charset="0"/>
              <a:buChar char="•"/>
            </a:pPr>
            <a:r>
              <a:rPr lang="en-US" dirty="0" smtClean="0">
                <a:latin typeface="+mj-lt"/>
              </a:rPr>
              <a:t>Very useful to have a shared location for installing applications, setting up VMs, running tools, and keeping notes while developing, testing, and debugging cloud services.</a:t>
            </a:r>
          </a:p>
        </p:txBody>
      </p:sp>
      <p:sp>
        <p:nvSpPr>
          <p:cNvPr id="3" name="Title 2"/>
          <p:cNvSpPr>
            <a:spLocks noGrp="1"/>
          </p:cNvSpPr>
          <p:nvPr>
            <p:ph type="title"/>
          </p:nvPr>
        </p:nvSpPr>
        <p:spPr/>
        <p:txBody>
          <a:bodyPr/>
          <a:lstStyle/>
          <a:p>
            <a:r>
              <a:rPr lang="en-US" dirty="0" smtClean="0"/>
              <a:t>Azure Files - Scenarios</a:t>
            </a:r>
            <a:endParaRPr lang="en-US" dirty="0"/>
          </a:p>
        </p:txBody>
      </p:sp>
    </p:spTree>
    <p:extLst>
      <p:ext uri="{BB962C8B-B14F-4D97-AF65-F5344CB8AC3E}">
        <p14:creationId xmlns:p14="http://schemas.microsoft.com/office/powerpoint/2010/main" val="13121596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 vs Disk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234513634"/>
              </p:ext>
            </p:extLst>
          </p:nvPr>
        </p:nvGraphicFramePr>
        <p:xfrm>
          <a:off x="461813" y="1401801"/>
          <a:ext cx="11384471" cy="4854794"/>
        </p:xfrm>
        <a:graphic>
          <a:graphicData uri="http://schemas.openxmlformats.org/drawingml/2006/table">
            <a:tbl>
              <a:tblPr firstRow="1" firstCol="1" bandRow="1">
                <a:tableStyleId>{5C22544A-7EE6-4342-B048-85BDC9FD1C3A}</a:tableStyleId>
              </a:tblPr>
              <a:tblGrid>
                <a:gridCol w="2258679">
                  <a:extLst>
                    <a:ext uri="{9D8B030D-6E8A-4147-A177-3AD203B41FA5}">
                      <a16:colId xmlns:a16="http://schemas.microsoft.com/office/drawing/2014/main" xmlns="" val="20000"/>
                    </a:ext>
                  </a:extLst>
                </a:gridCol>
                <a:gridCol w="5360850">
                  <a:extLst>
                    <a:ext uri="{9D8B030D-6E8A-4147-A177-3AD203B41FA5}">
                      <a16:colId xmlns:a16="http://schemas.microsoft.com/office/drawing/2014/main" xmlns="" val="20001"/>
                    </a:ext>
                  </a:extLst>
                </a:gridCol>
                <a:gridCol w="3764942">
                  <a:extLst>
                    <a:ext uri="{9D8B030D-6E8A-4147-A177-3AD203B41FA5}">
                      <a16:colId xmlns:a16="http://schemas.microsoft.com/office/drawing/2014/main" xmlns="" val="20002"/>
                    </a:ext>
                  </a:extLst>
                </a:gridCol>
              </a:tblGrid>
              <a:tr h="374914">
                <a:tc>
                  <a:txBody>
                    <a:bodyPr/>
                    <a:lstStyle/>
                    <a:p>
                      <a:pPr marL="0" marR="0">
                        <a:lnSpc>
                          <a:spcPct val="115000"/>
                        </a:lnSpc>
                        <a:spcBef>
                          <a:spcPts val="0"/>
                        </a:spcBef>
                        <a:spcAft>
                          <a:spcPts val="1000"/>
                        </a:spcAft>
                      </a:pPr>
                      <a:r>
                        <a:rPr lang="en-US" sz="1400" dirty="0">
                          <a:effectLst/>
                        </a:rPr>
                        <a:t>Description</a:t>
                      </a:r>
                      <a:endParaRPr lang="en-US" sz="1400" dirty="0">
                        <a:effectLst/>
                        <a:latin typeface="Calibri"/>
                        <a:ea typeface="Calibri"/>
                        <a:cs typeface="Times New Roman"/>
                      </a:endParaRPr>
                    </a:p>
                  </a:txBody>
                  <a:tcPr marL="0" marR="0" marT="0" marB="0" anchor="ctr"/>
                </a:tc>
                <a:tc>
                  <a:txBody>
                    <a:bodyPr/>
                    <a:lstStyle/>
                    <a:p>
                      <a:pPr marL="0" marR="0">
                        <a:lnSpc>
                          <a:spcPct val="115000"/>
                        </a:lnSpc>
                        <a:spcBef>
                          <a:spcPts val="0"/>
                        </a:spcBef>
                        <a:spcAft>
                          <a:spcPts val="1000"/>
                        </a:spcAft>
                      </a:pPr>
                      <a:r>
                        <a:rPr lang="en-US" sz="1400">
                          <a:effectLst/>
                        </a:rPr>
                        <a:t>Disk</a:t>
                      </a:r>
                      <a:endParaRPr lang="en-US" sz="1400">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effectLst/>
                        </a:rPr>
                        <a:t>Azure Files</a:t>
                      </a:r>
                      <a:endParaRPr lang="en-US" sz="1400">
                        <a:effectLst/>
                        <a:latin typeface="Calibri"/>
                        <a:ea typeface="Calibri"/>
                        <a:cs typeface="Times New Roman"/>
                      </a:endParaRPr>
                    </a:p>
                  </a:txBody>
                  <a:tcPr marL="64162" marR="64162" marT="32082" marB="32082" anchor="ctr"/>
                </a:tc>
                <a:extLst>
                  <a:ext uri="{0D108BD9-81ED-4DB2-BD59-A6C34878D82A}">
                    <a16:rowId xmlns:a16="http://schemas.microsoft.com/office/drawing/2014/main" xmlns="" val="10000"/>
                  </a:ext>
                </a:extLst>
              </a:tr>
              <a:tr h="377391">
                <a:tc>
                  <a:txBody>
                    <a:bodyPr/>
                    <a:lstStyle/>
                    <a:p>
                      <a:pPr marL="0" marR="0">
                        <a:lnSpc>
                          <a:spcPct val="115000"/>
                        </a:lnSpc>
                        <a:spcBef>
                          <a:spcPts val="0"/>
                        </a:spcBef>
                        <a:spcAft>
                          <a:spcPts val="1000"/>
                        </a:spcAft>
                      </a:pPr>
                      <a:r>
                        <a:rPr lang="en-US" sz="1400" b="1" dirty="0">
                          <a:solidFill>
                            <a:schemeClr val="bg1"/>
                          </a:solidFill>
                          <a:effectLst/>
                        </a:rPr>
                        <a:t>Relationship with Azure VM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quired for booting (OS Disk)</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a:lnSpc>
                          <a:spcPct val="107000"/>
                        </a:lnSpc>
                      </a:pPr>
                      <a:endParaRPr lang="en-US" sz="1400">
                        <a:solidFill>
                          <a:schemeClr val="tx2"/>
                        </a:solidFill>
                        <a:effectLst/>
                        <a:latin typeface="Calibri"/>
                      </a:endParaRPr>
                    </a:p>
                  </a:txBody>
                  <a:tcPr marL="64162" marR="64162" marT="32082" marB="32082" anchor="ctr"/>
                </a:tc>
                <a:extLst>
                  <a:ext uri="{0D108BD9-81ED-4DB2-BD59-A6C34878D82A}">
                    <a16:rowId xmlns:a16="http://schemas.microsoft.com/office/drawing/2014/main" xmlns="" val="10001"/>
                  </a:ext>
                </a:extLst>
              </a:tr>
              <a:tr h="366246">
                <a:tc>
                  <a:txBody>
                    <a:bodyPr/>
                    <a:lstStyle/>
                    <a:p>
                      <a:pPr marL="0" marR="0">
                        <a:lnSpc>
                          <a:spcPct val="115000"/>
                        </a:lnSpc>
                        <a:spcBef>
                          <a:spcPts val="0"/>
                        </a:spcBef>
                        <a:spcAft>
                          <a:spcPts val="1000"/>
                        </a:spcAft>
                      </a:pPr>
                      <a:r>
                        <a:rPr lang="en-US" sz="1400" b="1" dirty="0">
                          <a:solidFill>
                            <a:schemeClr val="bg1"/>
                          </a:solidFill>
                          <a:effectLst/>
                        </a:rPr>
                        <a:t>Scop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Exclusive/Isolated to a single VM</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hared access across multiple VMs</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xmlns="" val="10002"/>
                  </a:ext>
                </a:extLst>
              </a:tr>
              <a:tr h="366246">
                <a:tc>
                  <a:txBody>
                    <a:bodyPr/>
                    <a:lstStyle/>
                    <a:p>
                      <a:pPr marL="0" marR="0">
                        <a:lnSpc>
                          <a:spcPct val="115000"/>
                        </a:lnSpc>
                        <a:spcBef>
                          <a:spcPts val="0"/>
                        </a:spcBef>
                        <a:spcAft>
                          <a:spcPts val="1000"/>
                        </a:spcAft>
                      </a:pPr>
                      <a:r>
                        <a:rPr lang="en-US" sz="1400" b="1" dirty="0">
                          <a:solidFill>
                            <a:schemeClr val="bg1"/>
                          </a:solidFill>
                          <a:effectLst/>
                        </a:rPr>
                        <a:t>Snapshots and Copy</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Yes </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No</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xmlns="" val="10003"/>
                  </a:ext>
                </a:extLst>
              </a:tr>
              <a:tr h="426736">
                <a:tc>
                  <a:txBody>
                    <a:bodyPr/>
                    <a:lstStyle/>
                    <a:p>
                      <a:pPr marL="0" marR="0">
                        <a:lnSpc>
                          <a:spcPct val="115000"/>
                        </a:lnSpc>
                        <a:spcBef>
                          <a:spcPts val="0"/>
                        </a:spcBef>
                        <a:spcAft>
                          <a:spcPts val="1000"/>
                        </a:spcAft>
                      </a:pPr>
                      <a:r>
                        <a:rPr lang="en-US" sz="1400" b="1" dirty="0">
                          <a:solidFill>
                            <a:schemeClr val="bg1"/>
                          </a:solidFill>
                          <a:effectLst/>
                        </a:rPr>
                        <a:t>Configur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onfigured via portal/Management APIs and available at boot time</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Connect after boot (via net use on windows)</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xmlns="" val="10004"/>
                  </a:ext>
                </a:extLst>
              </a:tr>
              <a:tr h="366246">
                <a:tc>
                  <a:txBody>
                    <a:bodyPr/>
                    <a:lstStyle/>
                    <a:p>
                      <a:pPr marL="0" marR="0">
                        <a:lnSpc>
                          <a:spcPct val="115000"/>
                        </a:lnSpc>
                        <a:spcBef>
                          <a:spcPts val="0"/>
                        </a:spcBef>
                        <a:spcAft>
                          <a:spcPts val="1000"/>
                        </a:spcAft>
                      </a:pPr>
                      <a:r>
                        <a:rPr lang="en-US" sz="1400" b="1" dirty="0">
                          <a:solidFill>
                            <a:schemeClr val="bg1"/>
                          </a:solidFill>
                          <a:effectLst/>
                        </a:rPr>
                        <a:t>Built-in authentic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Built-in authentication</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et up authentication on net use</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xmlns="" val="10005"/>
                  </a:ext>
                </a:extLst>
              </a:tr>
              <a:tr h="366246">
                <a:tc>
                  <a:txBody>
                    <a:bodyPr/>
                    <a:lstStyle/>
                    <a:p>
                      <a:pPr marL="0" marR="0">
                        <a:lnSpc>
                          <a:spcPct val="115000"/>
                        </a:lnSpc>
                        <a:spcBef>
                          <a:spcPts val="0"/>
                        </a:spcBef>
                        <a:spcAft>
                          <a:spcPts val="1000"/>
                        </a:spcAft>
                      </a:pPr>
                      <a:r>
                        <a:rPr lang="en-US" sz="1400" b="1" dirty="0">
                          <a:solidFill>
                            <a:schemeClr val="bg1"/>
                          </a:solidFill>
                          <a:effectLst/>
                        </a:rPr>
                        <a:t>Cleanup</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sources can be cleaned up with VM if needed</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Manually via standard file APIs or REST APIs</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xmlns="" val="10006"/>
                  </a:ext>
                </a:extLst>
              </a:tr>
              <a:tr h="426736">
                <a:tc>
                  <a:txBody>
                    <a:bodyPr/>
                    <a:lstStyle/>
                    <a:p>
                      <a:pPr marL="0" marR="0">
                        <a:lnSpc>
                          <a:spcPct val="115000"/>
                        </a:lnSpc>
                        <a:spcBef>
                          <a:spcPts val="0"/>
                        </a:spcBef>
                        <a:spcAft>
                          <a:spcPts val="1000"/>
                        </a:spcAft>
                      </a:pPr>
                      <a:r>
                        <a:rPr lang="en-US" sz="1400" b="1" dirty="0">
                          <a:solidFill>
                            <a:schemeClr val="bg1"/>
                          </a:solidFill>
                          <a:effectLst/>
                        </a:rPr>
                        <a:t>Access via REST</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an only access as fixed formatted VHD (single blob) via REST. Files stored in VHD cannot be accessed via REST.</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Individual files stored in share are accessible via REST</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xmlns="" val="10007"/>
                  </a:ext>
                </a:extLst>
              </a:tr>
              <a:tr h="612818">
                <a:tc>
                  <a:txBody>
                    <a:bodyPr/>
                    <a:lstStyle/>
                    <a:p>
                      <a:pPr marL="0" marR="0">
                        <a:lnSpc>
                          <a:spcPct val="115000"/>
                        </a:lnSpc>
                        <a:spcBef>
                          <a:spcPts val="0"/>
                        </a:spcBef>
                        <a:spcAft>
                          <a:spcPts val="1000"/>
                        </a:spcAft>
                      </a:pPr>
                      <a:r>
                        <a:rPr lang="en-US" sz="1400" b="1" dirty="0">
                          <a:solidFill>
                            <a:schemeClr val="bg1"/>
                          </a:solidFill>
                          <a:effectLst/>
                        </a:rPr>
                        <a:t>Max Siz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1TB Disk</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5TB File Share</a:t>
                      </a:r>
                    </a:p>
                    <a:p>
                      <a:pPr marL="0" marR="0">
                        <a:lnSpc>
                          <a:spcPct val="115000"/>
                        </a:lnSpc>
                        <a:spcBef>
                          <a:spcPts val="0"/>
                        </a:spcBef>
                        <a:spcAft>
                          <a:spcPts val="1000"/>
                        </a:spcAft>
                      </a:pPr>
                      <a:r>
                        <a:rPr lang="en-US" sz="1400" dirty="0">
                          <a:solidFill>
                            <a:schemeClr val="tx2"/>
                          </a:solidFill>
                          <a:effectLst/>
                        </a:rPr>
                        <a:t>1TB file within share</a:t>
                      </a:r>
                      <a:endParaRPr lang="en-US" sz="1400" dirty="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xmlns="" val="10008"/>
                  </a:ext>
                </a:extLst>
              </a:tr>
              <a:tr h="366246">
                <a:tc>
                  <a:txBody>
                    <a:bodyPr/>
                    <a:lstStyle/>
                    <a:p>
                      <a:pPr marL="0" marR="0">
                        <a:lnSpc>
                          <a:spcPct val="115000"/>
                        </a:lnSpc>
                        <a:spcBef>
                          <a:spcPts val="0"/>
                        </a:spcBef>
                        <a:spcAft>
                          <a:spcPts val="1000"/>
                        </a:spcAft>
                      </a:pPr>
                      <a:r>
                        <a:rPr lang="en-US" sz="1400" b="1" dirty="0">
                          <a:solidFill>
                            <a:schemeClr val="bg1"/>
                          </a:solidFill>
                          <a:effectLst/>
                        </a:rPr>
                        <a:t>Max 8KB </a:t>
                      </a:r>
                      <a:r>
                        <a:rPr lang="en-US" sz="1400" b="1" dirty="0" err="1">
                          <a:solidFill>
                            <a:schemeClr val="bg1"/>
                          </a:solidFill>
                          <a:effectLst/>
                        </a:rPr>
                        <a:t>IOp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500 IOps</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1000 </a:t>
                      </a:r>
                      <a:r>
                        <a:rPr lang="en-US" sz="1400" dirty="0" err="1">
                          <a:solidFill>
                            <a:schemeClr val="tx2"/>
                          </a:solidFill>
                          <a:effectLst/>
                        </a:rPr>
                        <a:t>IOps</a:t>
                      </a:r>
                      <a:endParaRPr lang="en-US" sz="1400" dirty="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xmlns="" val="10009"/>
                  </a:ext>
                </a:extLst>
              </a:tr>
              <a:tr h="366246">
                <a:tc>
                  <a:txBody>
                    <a:bodyPr/>
                    <a:lstStyle/>
                    <a:p>
                      <a:pPr marL="0" marR="0">
                        <a:lnSpc>
                          <a:spcPct val="115000"/>
                        </a:lnSpc>
                        <a:spcBef>
                          <a:spcPts val="0"/>
                        </a:spcBef>
                        <a:spcAft>
                          <a:spcPts val="1000"/>
                        </a:spcAft>
                      </a:pPr>
                      <a:r>
                        <a:rPr lang="en-US" sz="1400" b="1" u="none" dirty="0">
                          <a:solidFill>
                            <a:schemeClr val="bg1"/>
                          </a:solidFill>
                          <a:effectLst/>
                        </a:rPr>
                        <a:t>Throughput</a:t>
                      </a:r>
                      <a:endParaRPr lang="en-US" sz="1400" b="1" u="none"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u="none">
                          <a:solidFill>
                            <a:schemeClr val="tx2"/>
                          </a:solidFill>
                          <a:effectLst/>
                        </a:rPr>
                        <a:t>Up to 60 MB/s per Disk</a:t>
                      </a:r>
                      <a:endParaRPr lang="en-US" sz="1400" u="none">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u="none" dirty="0">
                          <a:solidFill>
                            <a:schemeClr val="tx2"/>
                          </a:solidFill>
                          <a:effectLst/>
                        </a:rPr>
                        <a:t>Up to 60 MB/s per File Share</a:t>
                      </a:r>
                      <a:endParaRPr lang="en-US" sz="1400" u="none" dirty="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xmlns="" val="10010"/>
                  </a:ext>
                </a:extLst>
              </a:tr>
            </a:tbl>
          </a:graphicData>
        </a:graphic>
      </p:graphicFrame>
      <p:sp>
        <p:nvSpPr>
          <p:cNvPr id="4" name="TextBox 3"/>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Tree>
    <p:extLst>
      <p:ext uri="{BB962C8B-B14F-4D97-AF65-F5344CB8AC3E}">
        <p14:creationId xmlns:p14="http://schemas.microsoft.com/office/powerpoint/2010/main" val="2304792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Virtual Machine Availability</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Meaning of 9’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a:solidFill>
                  <a:schemeClr val="bg1"/>
                </a:solidFill>
                <a:latin typeface="+mj-lt"/>
                <a:sym typeface="Wingdings" panose="05000000000000000000" pitchFamily="2" charset="2"/>
              </a:rPr>
              <a:t>F</a:t>
            </a:r>
            <a:r>
              <a:rPr lang="en-US" dirty="0" smtClean="0">
                <a:solidFill>
                  <a:schemeClr val="bg1"/>
                </a:solidFill>
                <a:latin typeface="+mj-lt"/>
              </a:rPr>
              <a:t>ault domains, update domains and availability sets</a:t>
            </a:r>
          </a:p>
          <a:p>
            <a:r>
              <a:rPr lang="en-US" sz="4000" dirty="0" smtClean="0">
                <a:solidFill>
                  <a:srgbClr val="92D050"/>
                </a:solidFill>
                <a:latin typeface="+mj-lt"/>
                <a:sym typeface="Wingdings" panose="05000000000000000000" pitchFamily="2" charset="2"/>
              </a:rPr>
              <a:t> </a:t>
            </a:r>
            <a:r>
              <a:rPr lang="en-US" altLang="zh-CN" dirty="0" smtClean="0">
                <a:solidFill>
                  <a:schemeClr val="bg1"/>
                </a:solidFill>
                <a:latin typeface="+mj-lt"/>
                <a:sym typeface="Wingdings" panose="05000000000000000000" pitchFamily="2" charset="2"/>
              </a:rPr>
              <a:t>Load balancing</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21297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ning of 9’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31</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973673536"/>
              </p:ext>
            </p:extLst>
          </p:nvPr>
        </p:nvGraphicFramePr>
        <p:xfrm>
          <a:off x="598120" y="1299955"/>
          <a:ext cx="11056423" cy="4066424"/>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xmlns="" val="20000"/>
                    </a:ext>
                  </a:extLst>
                </a:gridCol>
                <a:gridCol w="1500027">
                  <a:extLst>
                    <a:ext uri="{9D8B030D-6E8A-4147-A177-3AD203B41FA5}">
                      <a16:colId xmlns:a16="http://schemas.microsoft.com/office/drawing/2014/main" xmlns="" val="20001"/>
                    </a:ext>
                  </a:extLst>
                </a:gridCol>
                <a:gridCol w="1510301">
                  <a:extLst>
                    <a:ext uri="{9D8B030D-6E8A-4147-A177-3AD203B41FA5}">
                      <a16:colId xmlns:a16="http://schemas.microsoft.com/office/drawing/2014/main" xmlns="" val="20002"/>
                    </a:ext>
                  </a:extLst>
                </a:gridCol>
                <a:gridCol w="1500027">
                  <a:extLst>
                    <a:ext uri="{9D8B030D-6E8A-4147-A177-3AD203B41FA5}">
                      <a16:colId xmlns:a16="http://schemas.microsoft.com/office/drawing/2014/main" xmlns="" val="20003"/>
                    </a:ext>
                  </a:extLst>
                </a:gridCol>
                <a:gridCol w="1397285">
                  <a:extLst>
                    <a:ext uri="{9D8B030D-6E8A-4147-A177-3AD203B41FA5}">
                      <a16:colId xmlns:a16="http://schemas.microsoft.com/office/drawing/2014/main" xmlns="" val="20004"/>
                    </a:ext>
                  </a:extLst>
                </a:gridCol>
                <a:gridCol w="2225598">
                  <a:extLst>
                    <a:ext uri="{9D8B030D-6E8A-4147-A177-3AD203B41FA5}">
                      <a16:colId xmlns:a16="http://schemas.microsoft.com/office/drawing/2014/main" xmlns="" val="20005"/>
                    </a:ext>
                  </a:extLst>
                </a:gridCol>
                <a:gridCol w="1579489">
                  <a:extLst>
                    <a:ext uri="{9D8B030D-6E8A-4147-A177-3AD203B41FA5}">
                      <a16:colId xmlns:a16="http://schemas.microsoft.com/office/drawing/2014/main" xmlns="" val="20006"/>
                    </a:ext>
                  </a:extLst>
                </a:gridCol>
              </a:tblGrid>
              <a:tr h="496275">
                <a:tc>
                  <a:txBody>
                    <a:bodyPr/>
                    <a:lstStyle/>
                    <a:p>
                      <a:r>
                        <a:rPr lang="en-US" sz="1200" dirty="0" smtClean="0">
                          <a:solidFill>
                            <a:schemeClr val="bg1"/>
                          </a:solidFill>
                        </a:rPr>
                        <a:t>Service Availability(%)</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System </a:t>
                      </a:r>
                      <a:r>
                        <a:rPr lang="en-US" altLang="zh-CN" sz="1200" dirty="0" smtClean="0">
                          <a:solidFill>
                            <a:schemeClr val="bg1"/>
                          </a:solidFill>
                        </a:rPr>
                        <a:t>Type</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200" dirty="0" smtClean="0">
                          <a:solidFill>
                            <a:schemeClr val="bg1"/>
                          </a:solidFill>
                        </a:rPr>
                        <a:t>Annualized</a:t>
                      </a:r>
                      <a:r>
                        <a:rPr lang="en-US" altLang="zh-CN"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Quarterly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Monthly</a:t>
                      </a:r>
                      <a:r>
                        <a:rPr lang="en-US"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Practical Mean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FAA rat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Unmanaged</a:t>
                      </a:r>
                    </a:p>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weeks per year</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4 day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ROUTINE</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Well 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9 hour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ESSENTI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432050">
                <a:tc>
                  <a:txBody>
                    <a:bodyPr/>
                    <a:lstStyle/>
                    <a:p>
                      <a:pPr algn="r"/>
                      <a:r>
                        <a:rPr lang="en-US" sz="1400" dirty="0" smtClean="0">
                          <a:solidFill>
                            <a:srgbClr val="3C454F"/>
                          </a:solidFill>
                        </a:rPr>
                        <a:t>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Fault</a:t>
                      </a:r>
                      <a:r>
                        <a:rPr lang="en-US" sz="1400" baseline="0" dirty="0" smtClean="0">
                          <a:solidFill>
                            <a:srgbClr val="3C454F"/>
                          </a:solidFill>
                        </a:rPr>
                        <a:t> toleran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1 hour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460827">
                <a:tc>
                  <a:txBody>
                    <a:bodyPr/>
                    <a:lstStyle/>
                    <a:p>
                      <a:pPr algn="r"/>
                      <a:r>
                        <a:rPr lang="en-US" sz="1400" dirty="0" smtClean="0">
                          <a:solidFill>
                            <a:srgbClr val="3C454F"/>
                          </a:solidFill>
                        </a:rPr>
                        <a:t>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4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minute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5"/>
                  </a:ext>
                </a:extLst>
              </a:tr>
              <a:tr h="460827">
                <a:tc>
                  <a:txBody>
                    <a:bodyPr/>
                    <a:lstStyle/>
                    <a:p>
                      <a:pPr algn="r"/>
                      <a:r>
                        <a:rPr lang="en-US" sz="1400" dirty="0" smtClean="0">
                          <a:solidFill>
                            <a:srgbClr val="3C454F"/>
                          </a:solidFill>
                        </a:rPr>
                        <a:t>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Very 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5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1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0</a:t>
                      </a:r>
                      <a:r>
                        <a:rPr lang="en-US" sz="1400" baseline="0" dirty="0" smtClean="0">
                          <a:solidFill>
                            <a:srgbClr val="3C454F"/>
                          </a:solidFill>
                        </a:rPr>
                        <a:t>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6"/>
                  </a:ext>
                </a:extLst>
              </a:tr>
              <a:tr h="460827">
                <a:tc>
                  <a:txBody>
                    <a:bodyPr/>
                    <a:lstStyle/>
                    <a:p>
                      <a:pPr algn="r"/>
                      <a:r>
                        <a:rPr lang="en-US" sz="1400" dirty="0" smtClean="0">
                          <a:solidFill>
                            <a:srgbClr val="3C454F"/>
                          </a:solidFill>
                        </a:rPr>
                        <a:t>9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Ultra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SAFETY 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7"/>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885534" y="5512713"/>
            <a:ext cx="10755086" cy="369332"/>
          </a:xfrm>
          <a:prstGeom prst="rect">
            <a:avLst/>
          </a:prstGeom>
          <a:noFill/>
        </p:spPr>
        <p:txBody>
          <a:bodyPr wrap="square" rtlCol="0">
            <a:spAutoFit/>
          </a:bodyPr>
          <a:lstStyle/>
          <a:p>
            <a:pPr algn="r"/>
            <a:r>
              <a:rPr lang="en-US" altLang="zh-CN" sz="900" i="1" dirty="0" smtClean="0"/>
              <a:t>From Generic Requirements for Operation Systems Platform Reliability, </a:t>
            </a:r>
            <a:r>
              <a:rPr lang="en-US" altLang="zh-CN" sz="900" i="1" dirty="0" err="1" smtClean="0"/>
              <a:t>Telcordia</a:t>
            </a:r>
            <a:r>
              <a:rPr lang="en-US" altLang="zh-CN" sz="900" i="1" dirty="0" smtClean="0"/>
              <a:t> Technologies System Documentation,GR-2841-CORE and </a:t>
            </a:r>
          </a:p>
          <a:p>
            <a:pPr algn="r"/>
            <a:r>
              <a:rPr lang="en-US" altLang="zh-CN" sz="900" i="1" dirty="0" smtClean="0"/>
              <a:t>Federation Aviation Administration Handbook: Reliability, Maintainability, and Availability (RMA) Handbook, FAA-HDBK-006A, Jan 7, 2008.</a:t>
            </a:r>
            <a:endParaRPr lang="en-US" sz="900" i="1" dirty="0"/>
          </a:p>
        </p:txBody>
      </p:sp>
    </p:spTree>
    <p:extLst>
      <p:ext uri="{BB962C8B-B14F-4D97-AF65-F5344CB8AC3E}">
        <p14:creationId xmlns:p14="http://schemas.microsoft.com/office/powerpoint/2010/main" val="212813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Level Agreements	</a:t>
            </a:r>
          </a:p>
        </p:txBody>
      </p:sp>
      <p:sp>
        <p:nvSpPr>
          <p:cNvPr id="5" name="Freeform 82"/>
          <p:cNvSpPr>
            <a:spLocks noEditPoints="1"/>
          </p:cNvSpPr>
          <p:nvPr/>
        </p:nvSpPr>
        <p:spPr bwMode="black">
          <a:xfrm>
            <a:off x="745166" y="1899132"/>
            <a:ext cx="3394886" cy="3295709"/>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5"/>
          </a:solid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bg1">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99.95% for multiple role instances</a:t>
            </a:r>
          </a:p>
          <a:p>
            <a:pPr lvl="1"/>
            <a:r>
              <a:rPr lang="en-US" sz="2000" dirty="0">
                <a:solidFill>
                  <a:schemeClr val="tx1">
                    <a:alpha val="99000"/>
                  </a:schemeClr>
                </a:solidFill>
              </a:rPr>
              <a:t>4.38 hours of downtime per year</a:t>
            </a:r>
          </a:p>
        </p:txBody>
      </p:sp>
    </p:spTree>
    <p:extLst>
      <p:ext uri="{BB962C8B-B14F-4D97-AF65-F5344CB8AC3E}">
        <p14:creationId xmlns:p14="http://schemas.microsoft.com/office/powerpoint/2010/main" val="3075419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vailability Sets</a:t>
            </a:r>
            <a:endParaRPr lang="en-US" dirty="0"/>
          </a:p>
        </p:txBody>
      </p:sp>
      <p:grpSp>
        <p:nvGrpSpPr>
          <p:cNvPr id="23" name="Group 22"/>
          <p:cNvGrpSpPr/>
          <p:nvPr/>
        </p:nvGrpSpPr>
        <p:grpSpPr>
          <a:xfrm>
            <a:off x="278460" y="1626521"/>
            <a:ext cx="4736761" cy="3323422"/>
            <a:chOff x="362009" y="2018600"/>
            <a:chExt cx="6319193" cy="4433691"/>
          </a:xfrm>
        </p:grpSpPr>
        <p:grpSp>
          <p:nvGrpSpPr>
            <p:cNvPr id="12" name="Group 11"/>
            <p:cNvGrpSpPr/>
            <p:nvPr/>
          </p:nvGrpSpPr>
          <p:grpSpPr>
            <a:xfrm>
              <a:off x="461404" y="3227827"/>
              <a:ext cx="2763669" cy="3224464"/>
              <a:chOff x="522296" y="2082421"/>
              <a:chExt cx="2763669" cy="3224464"/>
            </a:xfrm>
            <a:noFill/>
          </p:grpSpPr>
          <p:sp>
            <p:nvSpPr>
              <p:cNvPr id="9" name="Rounded Rectangle 8"/>
              <p:cNvSpPr/>
              <p:nvPr/>
            </p:nvSpPr>
            <p:spPr>
              <a:xfrm>
                <a:off x="522296" y="2082421"/>
                <a:ext cx="2763669" cy="3224464"/>
              </a:xfrm>
              <a:prstGeom prst="roundRect">
                <a:avLst/>
              </a:prstGeom>
              <a:grpFill/>
              <a:ln w="57150">
                <a:solidFill>
                  <a:srgbClr val="75E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p:cNvGrpSpPr/>
              <p:nvPr/>
            </p:nvGrpSpPr>
            <p:grpSpPr>
              <a:xfrm>
                <a:off x="957606" y="2487715"/>
                <a:ext cx="1893048" cy="2366780"/>
                <a:chOff x="957606" y="2423631"/>
                <a:chExt cx="1893048" cy="2366780"/>
              </a:xfrm>
              <a:grpFill/>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2423631"/>
                  <a:ext cx="1893048" cy="508250"/>
                </a:xfrm>
                <a:prstGeom prst="rect">
                  <a:avLst/>
                </a:prstGeom>
                <a:grpFill/>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3352897"/>
                  <a:ext cx="1893048" cy="508250"/>
                </a:xfrm>
                <a:prstGeom prst="rect">
                  <a:avLst/>
                </a:prstGeom>
                <a:grpFill/>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4282161"/>
                  <a:ext cx="1893048" cy="508250"/>
                </a:xfrm>
                <a:prstGeom prst="rect">
                  <a:avLst/>
                </a:prstGeom>
                <a:grpFill/>
              </p:spPr>
            </p:pic>
          </p:grpSp>
        </p:grpSp>
        <p:sp>
          <p:nvSpPr>
            <p:cNvPr id="11" name="Text Placeholder 5"/>
            <p:cNvSpPr txBox="1">
              <a:spLocks/>
            </p:cNvSpPr>
            <p:nvPr/>
          </p:nvSpPr>
          <p:spPr>
            <a:xfrm>
              <a:off x="362009" y="2018600"/>
              <a:ext cx="2962458" cy="11217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cap="all" dirty="0" smtClean="0">
                  <a:solidFill>
                    <a:srgbClr val="75E6FF"/>
                  </a:solidFill>
                </a:rPr>
                <a:t>Web Tier</a:t>
              </a:r>
            </a:p>
            <a:p>
              <a:pPr marL="0" indent="0" algn="ctr">
                <a:buNone/>
              </a:pPr>
              <a:r>
                <a:rPr lang="en-US" sz="1800" b="1" cap="all" dirty="0" smtClean="0">
                  <a:solidFill>
                    <a:srgbClr val="75E6FF"/>
                  </a:solidFill>
                </a:rPr>
                <a:t>Availability Set</a:t>
              </a:r>
              <a:endParaRPr lang="en-US" sz="1800" b="1" cap="all" dirty="0">
                <a:solidFill>
                  <a:srgbClr val="75E6FF"/>
                </a:solidFill>
              </a:endParaRPr>
            </a:p>
          </p:txBody>
        </p:sp>
        <p:grpSp>
          <p:nvGrpSpPr>
            <p:cNvPr id="13" name="Group 12"/>
            <p:cNvGrpSpPr/>
            <p:nvPr/>
          </p:nvGrpSpPr>
          <p:grpSpPr>
            <a:xfrm>
              <a:off x="3818139" y="3227827"/>
              <a:ext cx="2763669" cy="2396691"/>
              <a:chOff x="522296" y="2082421"/>
              <a:chExt cx="2763669" cy="2396691"/>
            </a:xfrm>
            <a:noFill/>
          </p:grpSpPr>
          <p:sp>
            <p:nvSpPr>
              <p:cNvPr id="14" name="Rounded Rectangle 13"/>
              <p:cNvSpPr/>
              <p:nvPr/>
            </p:nvSpPr>
            <p:spPr>
              <a:xfrm>
                <a:off x="522296" y="2082421"/>
                <a:ext cx="2763669" cy="2396691"/>
              </a:xfrm>
              <a:prstGeom prst="roundRect">
                <a:avLst/>
              </a:prstGeom>
              <a:grpFill/>
              <a:ln w="57150">
                <a:solidFill>
                  <a:srgbClr val="75E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957606" y="2487715"/>
                <a:ext cx="1893048" cy="1437514"/>
                <a:chOff x="957606" y="2423631"/>
                <a:chExt cx="1893048" cy="1437514"/>
              </a:xfrm>
              <a:grpFill/>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2423631"/>
                  <a:ext cx="1893048" cy="508250"/>
                </a:xfrm>
                <a:prstGeom prst="rect">
                  <a:avLst/>
                </a:prstGeom>
                <a:grpFill/>
              </p:spPr>
            </p:pic>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3352895"/>
                  <a:ext cx="1893048" cy="508250"/>
                </a:xfrm>
                <a:prstGeom prst="rect">
                  <a:avLst/>
                </a:prstGeom>
                <a:grpFill/>
              </p:spPr>
            </p:pic>
          </p:grpSp>
        </p:grpSp>
        <p:sp>
          <p:nvSpPr>
            <p:cNvPr id="19" name="Text Placeholder 5"/>
            <p:cNvSpPr txBox="1">
              <a:spLocks/>
            </p:cNvSpPr>
            <p:nvPr/>
          </p:nvSpPr>
          <p:spPr>
            <a:xfrm>
              <a:off x="3718744" y="2018600"/>
              <a:ext cx="2962458" cy="11217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cap="all" dirty="0" smtClean="0">
                  <a:solidFill>
                    <a:srgbClr val="75E6FF"/>
                  </a:solidFill>
                </a:rPr>
                <a:t>Data Tier</a:t>
              </a:r>
            </a:p>
            <a:p>
              <a:pPr marL="0" indent="0" algn="ctr">
                <a:buNone/>
              </a:pPr>
              <a:r>
                <a:rPr lang="en-US" sz="1800" b="1" cap="all" dirty="0" smtClean="0">
                  <a:solidFill>
                    <a:srgbClr val="75E6FF"/>
                  </a:solidFill>
                </a:rPr>
                <a:t>Availability Set</a:t>
              </a:r>
              <a:endParaRPr lang="en-US" sz="1800" b="1" cap="all" dirty="0">
                <a:solidFill>
                  <a:srgbClr val="75E6FF"/>
                </a:solidFill>
              </a:endParaRPr>
            </a:p>
          </p:txBody>
        </p:sp>
      </p:grpSp>
      <p:sp>
        <p:nvSpPr>
          <p:cNvPr id="20" name="Content Placeholder 2"/>
          <p:cNvSpPr txBox="1">
            <a:spLocks/>
          </p:cNvSpPr>
          <p:nvPr/>
        </p:nvSpPr>
        <p:spPr>
          <a:xfrm>
            <a:off x="5773839" y="3099533"/>
            <a:ext cx="6142237"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smtClean="0">
                <a:solidFill>
                  <a:schemeClr val="bg1">
                    <a:alpha val="99000"/>
                  </a:schemeClr>
                </a:solidFill>
                <a:latin typeface="+mn-lt"/>
              </a:rPr>
              <a:t>Why use Availability Sets?</a:t>
            </a:r>
          </a:p>
          <a:p>
            <a:pPr lvl="1"/>
            <a:r>
              <a:rPr lang="en-CA" sz="2000" dirty="0">
                <a:solidFill>
                  <a:schemeClr val="tx1">
                    <a:alpha val="99000"/>
                  </a:schemeClr>
                </a:solidFill>
              </a:rPr>
              <a:t>By configuring at least two virtual machines in an Availability Set for each tier, you guarantee that at least one virtual machine in each tier will </a:t>
            </a:r>
            <a:r>
              <a:rPr lang="en-CA" sz="2000" dirty="0" smtClean="0">
                <a:solidFill>
                  <a:schemeClr val="tx1">
                    <a:alpha val="99000"/>
                  </a:schemeClr>
                </a:solidFill>
              </a:rPr>
              <a:t>be. </a:t>
            </a:r>
            <a:endParaRPr lang="en-US" sz="2000" dirty="0">
              <a:solidFill>
                <a:schemeClr val="tx1">
                  <a:alpha val="99000"/>
                </a:schemeClr>
              </a:solidFill>
            </a:endParaRPr>
          </a:p>
        </p:txBody>
      </p:sp>
      <p:sp>
        <p:nvSpPr>
          <p:cNvPr id="21" name="Content Placeholder 2"/>
          <p:cNvSpPr txBox="1">
            <a:spLocks/>
          </p:cNvSpPr>
          <p:nvPr/>
        </p:nvSpPr>
        <p:spPr>
          <a:xfrm>
            <a:off x="5773838" y="4812418"/>
            <a:ext cx="6142237" cy="1107996"/>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smtClean="0">
                <a:solidFill>
                  <a:schemeClr val="bg1">
                    <a:alpha val="99000"/>
                  </a:schemeClr>
                </a:solidFill>
                <a:latin typeface="+mn-lt"/>
              </a:rPr>
              <a:t>Highly Available</a:t>
            </a:r>
            <a:endParaRPr lang="en-US" sz="4000" dirty="0">
              <a:solidFill>
                <a:schemeClr val="bg1">
                  <a:alpha val="99000"/>
                </a:schemeClr>
              </a:solidFill>
              <a:latin typeface="+mn-lt"/>
            </a:endParaRPr>
          </a:p>
          <a:p>
            <a:pPr lvl="1"/>
            <a:r>
              <a:rPr lang="en-CA" sz="2000" dirty="0" smtClean="0">
                <a:solidFill>
                  <a:schemeClr val="tx1">
                    <a:alpha val="99000"/>
                  </a:schemeClr>
                </a:solidFill>
              </a:rPr>
              <a:t>You guarantee </a:t>
            </a:r>
            <a:r>
              <a:rPr lang="en-CA" sz="2000" dirty="0">
                <a:solidFill>
                  <a:schemeClr val="tx1">
                    <a:alpha val="99000"/>
                  </a:schemeClr>
                </a:solidFill>
              </a:rPr>
              <a:t>that at least one virtual machine in each tier will be </a:t>
            </a:r>
            <a:r>
              <a:rPr lang="en-CA" sz="2000" dirty="0" smtClean="0">
                <a:solidFill>
                  <a:schemeClr val="tx1">
                    <a:alpha val="99000"/>
                  </a:schemeClr>
                </a:solidFill>
              </a:rPr>
              <a:t>available.</a:t>
            </a:r>
            <a:endParaRPr lang="en-US" sz="2000" dirty="0">
              <a:solidFill>
                <a:schemeClr val="tx1">
                  <a:alpha val="99000"/>
                </a:schemeClr>
              </a:solidFill>
            </a:endParaRPr>
          </a:p>
        </p:txBody>
      </p:sp>
      <p:sp>
        <p:nvSpPr>
          <p:cNvPr id="22" name="Content Placeholder 2"/>
          <p:cNvSpPr txBox="1">
            <a:spLocks/>
          </p:cNvSpPr>
          <p:nvPr/>
        </p:nvSpPr>
        <p:spPr>
          <a:xfrm>
            <a:off x="5773838" y="1626521"/>
            <a:ext cx="6142237" cy="1107996"/>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smtClean="0">
                <a:solidFill>
                  <a:schemeClr val="bg1">
                    <a:alpha val="99000"/>
                  </a:schemeClr>
                </a:solidFill>
                <a:latin typeface="+mn-lt"/>
              </a:rPr>
              <a:t>Best Practice</a:t>
            </a:r>
            <a:endParaRPr lang="en-US" sz="4000" dirty="0">
              <a:solidFill>
                <a:schemeClr val="bg1">
                  <a:alpha val="99000"/>
                </a:schemeClr>
              </a:solidFill>
              <a:latin typeface="+mn-lt"/>
            </a:endParaRPr>
          </a:p>
          <a:p>
            <a:pPr lvl="1"/>
            <a:r>
              <a:rPr lang="en-US" sz="2000" dirty="0" smtClean="0">
                <a:solidFill>
                  <a:schemeClr val="tx1">
                    <a:alpha val="99000"/>
                  </a:schemeClr>
                </a:solidFill>
              </a:rPr>
              <a:t>Group each tier of your application into an </a:t>
            </a:r>
            <a:r>
              <a:rPr lang="en-US" sz="2000" dirty="0">
                <a:solidFill>
                  <a:schemeClr val="tx1">
                    <a:alpha val="99000"/>
                  </a:schemeClr>
                </a:solidFill>
              </a:rPr>
              <a:t>a</a:t>
            </a:r>
            <a:r>
              <a:rPr lang="en-US" sz="2000" dirty="0" smtClean="0">
                <a:solidFill>
                  <a:schemeClr val="tx1">
                    <a:alpha val="99000"/>
                  </a:schemeClr>
                </a:solidFill>
              </a:rPr>
              <a:t>vailability set.</a:t>
            </a:r>
            <a:endParaRPr lang="en-US" sz="2000" dirty="0">
              <a:solidFill>
                <a:schemeClr val="tx1">
                  <a:alpha val="99000"/>
                </a:schemeClr>
              </a:solidFill>
            </a:endParaRPr>
          </a:p>
        </p:txBody>
      </p:sp>
    </p:spTree>
    <p:extLst>
      <p:ext uri="{BB962C8B-B14F-4D97-AF65-F5344CB8AC3E}">
        <p14:creationId xmlns:p14="http://schemas.microsoft.com/office/powerpoint/2010/main" val="16471104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a:t>
            </a:r>
            <a:r>
              <a:rPr lang="en-US" sz="2133" dirty="0" smtClean="0">
                <a:ln>
                  <a:solidFill>
                    <a:srgbClr val="FFFFFF">
                      <a:alpha val="0"/>
                    </a:srgbClr>
                  </a:solidFill>
                </a:ln>
                <a:solidFill>
                  <a:schemeClr val="bg1">
                    <a:alpha val="99000"/>
                  </a:schemeClr>
                </a:solidFill>
              </a:rPr>
              <a:t>Domain #2</a:t>
            </a:r>
          </a:p>
          <a:p>
            <a:pPr algn="ctr" defTabSz="1218490" fontAlgn="base">
              <a:spcBef>
                <a:spcPct val="0"/>
              </a:spcBef>
              <a:spcAft>
                <a:spcPct val="0"/>
              </a:spcAft>
            </a:pPr>
            <a:r>
              <a:rPr lang="en-US" sz="2133" dirty="0" smtClean="0">
                <a:ln>
                  <a:solidFill>
                    <a:srgbClr val="FFFFFF">
                      <a:alpha val="0"/>
                    </a:srgbClr>
                  </a:solidFill>
                </a:ln>
                <a:solidFill>
                  <a:schemeClr val="bg1">
                    <a:alpha val="99000"/>
                  </a:schemeClr>
                </a:solidFill>
              </a:rPr>
              <a:t>(Rack #2)</a:t>
            </a:r>
            <a:endParaRPr lang="en-US" sz="2133" dirty="0">
              <a:ln>
                <a:solidFill>
                  <a:srgbClr val="FFFFFF">
                    <a:alpha val="0"/>
                  </a:srgbClr>
                </a:solidFill>
              </a:ln>
              <a:solidFill>
                <a:schemeClr val="bg1">
                  <a:alpha val="99000"/>
                </a:schemeClr>
              </a:solidFill>
            </a:endParaRPr>
          </a:p>
        </p:txBody>
      </p:sp>
      <p:sp>
        <p:nvSpPr>
          <p:cNvPr id="12" name="Rectangle 11"/>
          <p:cNvSpPr/>
          <p:nvPr>
            <p:custDataLst>
              <p:tags r:id="rId2"/>
            </p:custDataLst>
          </p:nvPr>
        </p:nvSpPr>
        <p:spPr bwMode="auto">
          <a:xfrm>
            <a:off x="7396690" y="2423238"/>
            <a:ext cx="2377439" cy="4215068"/>
          </a:xfrm>
          <a:prstGeom prst="rect">
            <a:avLst/>
          </a:prstGeom>
          <a:no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endParaRPr lang="en-US" sz="1466" dirty="0">
              <a:ln>
                <a:solidFill>
                  <a:srgbClr val="FFFFFF">
                    <a:alpha val="0"/>
                  </a:srgbClr>
                </a:solidFill>
              </a:ln>
              <a:solidFill>
                <a:schemeClr val="bg1">
                  <a:alpha val="99000"/>
                </a:schemeClr>
              </a:solidFill>
            </a:endParaRPr>
          </a:p>
        </p:txBody>
      </p:sp>
      <p:sp>
        <p:nvSpPr>
          <p:cNvPr id="31" name="Title 30"/>
          <p:cNvSpPr>
            <a:spLocks noGrp="1"/>
          </p:cNvSpPr>
          <p:nvPr>
            <p:ph type="title"/>
          </p:nvPr>
        </p:nvSpPr>
        <p:spPr/>
        <p:txBody>
          <a:bodyPr>
            <a:normAutofit/>
          </a:bodyPr>
          <a:lstStyle/>
          <a:p>
            <a:r>
              <a:rPr lang="en-NZ" dirty="0"/>
              <a:t>Fault and Update </a:t>
            </a:r>
            <a:r>
              <a:rPr lang="en-NZ" dirty="0" smtClean="0"/>
              <a:t>Domains (FD &amp; UD)</a:t>
            </a:r>
            <a:endParaRPr lang="en-NZ" dirty="0"/>
          </a:p>
        </p:txBody>
      </p:sp>
      <p:sp>
        <p:nvSpPr>
          <p:cNvPr id="3" name="Rectangle 2"/>
          <p:cNvSpPr/>
          <p:nvPr>
            <p:custDataLst>
              <p:tags r:id="rId3"/>
            </p:custDataLst>
          </p:nvPr>
        </p:nvSpPr>
        <p:spPr bwMode="auto">
          <a:xfrm>
            <a:off x="2252325" y="1492211"/>
            <a:ext cx="2664373" cy="4774503"/>
          </a:xfrm>
          <a:prstGeom prst="rect">
            <a:avLst/>
          </a:prstGeom>
          <a:no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a:t>
            </a:r>
            <a:r>
              <a:rPr lang="en-US" sz="2133" dirty="0" smtClean="0">
                <a:ln>
                  <a:solidFill>
                    <a:srgbClr val="FFFFFF">
                      <a:alpha val="0"/>
                    </a:srgbClr>
                  </a:solidFill>
                </a:ln>
                <a:solidFill>
                  <a:schemeClr val="bg1">
                    <a:alpha val="99000"/>
                  </a:schemeClr>
                </a:solidFill>
              </a:rPr>
              <a:t>Domain #1</a:t>
            </a:r>
          </a:p>
          <a:p>
            <a:pPr algn="ctr" defTabSz="1218490" fontAlgn="base">
              <a:spcBef>
                <a:spcPct val="0"/>
              </a:spcBef>
              <a:spcAft>
                <a:spcPct val="0"/>
              </a:spcAft>
            </a:pPr>
            <a:r>
              <a:rPr lang="en-US" sz="2133" dirty="0" smtClean="0">
                <a:ln>
                  <a:solidFill>
                    <a:srgbClr val="FFFFFF">
                      <a:alpha val="0"/>
                    </a:srgbClr>
                  </a:solidFill>
                </a:ln>
                <a:solidFill>
                  <a:schemeClr val="bg1">
                    <a:alpha val="99000"/>
                  </a:schemeClr>
                </a:solidFill>
              </a:rPr>
              <a:t>(Rack #1)</a:t>
            </a:r>
            <a:endParaRPr lang="en-US" sz="2133" dirty="0">
              <a:ln>
                <a:solidFill>
                  <a:srgbClr val="FFFFFF">
                    <a:alpha val="0"/>
                  </a:srgbClr>
                </a:solidFill>
              </a:ln>
              <a:solidFill>
                <a:schemeClr val="bg1">
                  <a:alpha val="99000"/>
                </a:schemeClr>
              </a:solidFill>
            </a:endParaRPr>
          </a:p>
        </p:txBody>
      </p:sp>
      <p:sp>
        <p:nvSpPr>
          <p:cNvPr id="4" name="Rectangle 3"/>
          <p:cNvSpPr/>
          <p:nvPr>
            <p:custDataLst>
              <p:tags r:id="rId4"/>
            </p:custDataLst>
          </p:nvPr>
        </p:nvSpPr>
        <p:spPr bwMode="auto">
          <a:xfrm>
            <a:off x="2411032" y="2423238"/>
            <a:ext cx="2377439" cy="4215068"/>
          </a:xfrm>
          <a:prstGeom prst="rect">
            <a:avLst/>
          </a:prstGeom>
          <a:noFill/>
          <a:ln w="571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endParaRPr lang="en-US" sz="1466" dirty="0">
              <a:ln>
                <a:solidFill>
                  <a:srgbClr val="FFFFFF">
                    <a:alpha val="0"/>
                  </a:srgbClr>
                </a:solidFill>
              </a:ln>
              <a:solidFill>
                <a:schemeClr val="bg1">
                  <a:alpha val="99000"/>
                </a:schemeClr>
              </a:solidFill>
            </a:endParaRPr>
          </a:p>
        </p:txBody>
      </p:sp>
      <p:grpSp>
        <p:nvGrpSpPr>
          <p:cNvPr id="20" name="Group 19"/>
          <p:cNvGrpSpPr/>
          <p:nvPr/>
        </p:nvGrpSpPr>
        <p:grpSpPr>
          <a:xfrm>
            <a:off x="2578672" y="2613238"/>
            <a:ext cx="6997336" cy="1746523"/>
            <a:chOff x="2578672" y="2423238"/>
            <a:chExt cx="6997336" cy="1746523"/>
          </a:xfrm>
        </p:grpSpPr>
        <p:sp>
          <p:nvSpPr>
            <p:cNvPr id="5" name="Rectangle 4"/>
            <p:cNvSpPr/>
            <p:nvPr>
              <p:custDataLst>
                <p:tags r:id="rId8"/>
              </p:custDataLst>
            </p:nvPr>
          </p:nvSpPr>
          <p:spPr bwMode="auto">
            <a:xfrm>
              <a:off x="2578672" y="2423238"/>
              <a:ext cx="6997336" cy="1746523"/>
            </a:xfrm>
            <a:prstGeom prst="rect">
              <a:avLst/>
            </a:prstGeom>
            <a:noFill/>
            <a:ln w="19050">
              <a:solidFill>
                <a:srgbClr val="FFC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a:t>
              </a:r>
              <a:r>
                <a:rPr lang="en-US" sz="2133" dirty="0" smtClean="0">
                  <a:ln>
                    <a:solidFill>
                      <a:srgbClr val="FFFFFF">
                        <a:alpha val="0"/>
                      </a:srgbClr>
                    </a:solidFill>
                  </a:ln>
                  <a:solidFill>
                    <a:schemeClr val="bg1">
                      <a:alpha val="99000"/>
                    </a:schemeClr>
                  </a:solidFill>
                </a:rPr>
                <a:t>Role</a:t>
              </a:r>
            </a:p>
            <a:p>
              <a:pPr algn="ctr" defTabSz="913878" fontAlgn="base">
                <a:spcBef>
                  <a:spcPct val="0"/>
                </a:spcBef>
                <a:spcAft>
                  <a:spcPct val="0"/>
                </a:spcAft>
              </a:pPr>
              <a:r>
                <a:rPr lang="en-US" sz="1600" dirty="0" smtClean="0">
                  <a:ln>
                    <a:solidFill>
                      <a:srgbClr val="FFFFFF">
                        <a:alpha val="0"/>
                      </a:srgbClr>
                    </a:solidFill>
                  </a:ln>
                  <a:solidFill>
                    <a:schemeClr val="bg1">
                      <a:alpha val="99000"/>
                    </a:schemeClr>
                  </a:solidFill>
                </a:rPr>
                <a:t>(Availability Set)</a:t>
              </a:r>
            </a:p>
          </p:txBody>
        </p:sp>
        <p:sp>
          <p:nvSpPr>
            <p:cNvPr id="19" name="Rectangle 18"/>
            <p:cNvSpPr/>
            <p:nvPr>
              <p:custDataLst>
                <p:tags r:id="rId9"/>
              </p:custDataLst>
            </p:nvPr>
          </p:nvSpPr>
          <p:spPr bwMode="auto">
            <a:xfrm>
              <a:off x="2683133" y="2763288"/>
              <a:ext cx="1759431" cy="1248453"/>
            </a:xfrm>
            <a:prstGeom prst="rect">
              <a:avLst/>
            </a:prstGeom>
            <a:noFill/>
            <a:ln w="19050">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0"/>
              </p:custDataLst>
            </p:nvPr>
          </p:nvSpPr>
          <p:spPr bwMode="auto">
            <a:xfrm>
              <a:off x="7681623" y="276328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46694"/>
              <a:ext cx="514243" cy="246221"/>
            </a:xfrm>
            <a:prstGeom prst="rect">
              <a:avLst/>
            </a:prstGeom>
            <a:noFill/>
          </p:spPr>
          <p:txBody>
            <a:bodyPr wrap="none" lIns="0" tIns="0" rIns="0" bIns="0" rtlCol="0">
              <a:spAutoFit/>
            </a:bodyPr>
            <a:lstStyle/>
            <a:p>
              <a:pPr defTabSz="1218490"/>
              <a:r>
                <a:rPr lang="en-US" sz="1600" spc="-93" dirty="0">
                  <a:solidFill>
                    <a:schemeClr val="bg1"/>
                  </a:solidFill>
                </a:rPr>
                <a:t>UD #1</a:t>
              </a:r>
            </a:p>
          </p:txBody>
        </p:sp>
        <p:pic>
          <p:nvPicPr>
            <p:cNvPr id="29" name="Picture 2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87263" y="2943214"/>
              <a:ext cx="1418997" cy="380976"/>
            </a:xfrm>
            <a:prstGeom prst="rect">
              <a:avLst/>
            </a:prstGeom>
            <a:noFill/>
          </p:spPr>
        </p:pic>
        <p:pic>
          <p:nvPicPr>
            <p:cNvPr id="30" name="Picture 2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87263" y="3487171"/>
              <a:ext cx="1418997" cy="380976"/>
            </a:xfrm>
            <a:prstGeom prst="rect">
              <a:avLst/>
            </a:prstGeom>
            <a:noFill/>
          </p:spPr>
        </p:pic>
        <p:pic>
          <p:nvPicPr>
            <p:cNvPr id="33" name="Picture 3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38648" y="2946909"/>
              <a:ext cx="1418997" cy="380976"/>
            </a:xfrm>
            <a:prstGeom prst="rect">
              <a:avLst/>
            </a:prstGeom>
            <a:noFill/>
          </p:spPr>
        </p:pic>
        <p:pic>
          <p:nvPicPr>
            <p:cNvPr id="34" name="Picture 3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38648" y="3490866"/>
              <a:ext cx="1418997" cy="380976"/>
            </a:xfrm>
            <a:prstGeom prst="rect">
              <a:avLst/>
            </a:prstGeom>
            <a:noFill/>
          </p:spPr>
        </p:pic>
      </p:grpSp>
      <p:grpSp>
        <p:nvGrpSpPr>
          <p:cNvPr id="16" name="Group 15"/>
          <p:cNvGrpSpPr/>
          <p:nvPr/>
        </p:nvGrpSpPr>
        <p:grpSpPr>
          <a:xfrm>
            <a:off x="2592067" y="4636000"/>
            <a:ext cx="6997336" cy="1822953"/>
            <a:chOff x="2592067" y="4255995"/>
            <a:chExt cx="6997336" cy="1822953"/>
          </a:xfrm>
        </p:grpSpPr>
        <p:sp>
          <p:nvSpPr>
            <p:cNvPr id="8" name="Rectangle 7"/>
            <p:cNvSpPr/>
            <p:nvPr>
              <p:custDataLst>
                <p:tags r:id="rId5"/>
              </p:custDataLst>
            </p:nvPr>
          </p:nvSpPr>
          <p:spPr bwMode="auto">
            <a:xfrm>
              <a:off x="2592067" y="4255995"/>
              <a:ext cx="6997336" cy="1822953"/>
            </a:xfrm>
            <a:prstGeom prst="rect">
              <a:avLst/>
            </a:prstGeom>
            <a:noFill/>
            <a:ln w="19050">
              <a:solidFill>
                <a:schemeClr val="accent6">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a:t>
              </a:r>
              <a:r>
                <a:rPr lang="en-US" sz="2133" dirty="0" smtClean="0">
                  <a:ln>
                    <a:solidFill>
                      <a:srgbClr val="FFFFFF">
                        <a:alpha val="0"/>
                      </a:srgbClr>
                    </a:solidFill>
                  </a:ln>
                  <a:solidFill>
                    <a:schemeClr val="bg1"/>
                  </a:solidFill>
                </a:rPr>
                <a:t>Role</a:t>
              </a:r>
            </a:p>
            <a:p>
              <a:pPr algn="ctr" defTabSz="913878" fontAlgn="base">
                <a:spcBef>
                  <a:spcPct val="0"/>
                </a:spcBef>
                <a:spcAft>
                  <a:spcPct val="0"/>
                </a:spcAft>
              </a:pPr>
              <a:r>
                <a:rPr lang="en-US" sz="1600" dirty="0">
                  <a:ln>
                    <a:solidFill>
                      <a:srgbClr val="FFFFFF">
                        <a:alpha val="0"/>
                      </a:srgbClr>
                    </a:solidFill>
                  </a:ln>
                  <a:solidFill>
                    <a:schemeClr val="bg1">
                      <a:alpha val="99000"/>
                    </a:schemeClr>
                  </a:solidFill>
                </a:rPr>
                <a:t>(Availability Set)</a:t>
              </a:r>
            </a:p>
            <a:p>
              <a:pPr algn="ctr" defTabSz="913878" fontAlgn="base">
                <a:spcBef>
                  <a:spcPct val="0"/>
                </a:spcBef>
                <a:spcAft>
                  <a:spcPct val="0"/>
                </a:spcAft>
              </a:pPr>
              <a:endParaRPr lang="en-US" sz="2133" dirty="0">
                <a:ln>
                  <a:solidFill>
                    <a:srgbClr val="FFFFFF">
                      <a:alpha val="0"/>
                    </a:srgbClr>
                  </a:solidFill>
                </a:ln>
                <a:solidFill>
                  <a:schemeClr val="bg1"/>
                </a:solidFill>
              </a:endParaRPr>
            </a:p>
          </p:txBody>
        </p:sp>
        <p:sp>
          <p:nvSpPr>
            <p:cNvPr id="21" name="Rectangle 20"/>
            <p:cNvSpPr/>
            <p:nvPr>
              <p:custDataLst>
                <p:tags r:id="rId6"/>
              </p:custDataLst>
            </p:nvPr>
          </p:nvSpPr>
          <p:spPr bwMode="auto">
            <a:xfrm>
              <a:off x="2683133" y="4622048"/>
              <a:ext cx="1759431" cy="1227904"/>
            </a:xfrm>
            <a:prstGeom prst="rect">
              <a:avLst/>
            </a:prstGeom>
            <a:noFill/>
            <a:ln w="2222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solidFill>
                    <a:schemeClr val="bg1"/>
                  </a:solidFill>
                </a:rPr>
                <a:t>UD #1</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solidFill>
                    <a:schemeClr val="bg1"/>
                  </a:solidFill>
                </a:rPr>
                <a:t>UD #2</a:t>
              </a:r>
            </a:p>
          </p:txBody>
        </p:sp>
        <p:pic>
          <p:nvPicPr>
            <p:cNvPr id="39" name="Picture 3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87263" y="4790749"/>
              <a:ext cx="1418997" cy="380976"/>
            </a:xfrm>
            <a:prstGeom prst="rect">
              <a:avLst/>
            </a:prstGeom>
            <a:noFill/>
          </p:spPr>
        </p:pic>
        <p:pic>
          <p:nvPicPr>
            <p:cNvPr id="40" name="Picture 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87263" y="5334706"/>
              <a:ext cx="1418997" cy="380976"/>
            </a:xfrm>
            <a:prstGeom prst="rect">
              <a:avLst/>
            </a:prstGeom>
            <a:noFill/>
          </p:spPr>
        </p:pic>
        <p:pic>
          <p:nvPicPr>
            <p:cNvPr id="42" name="Picture 4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38648" y="5338401"/>
              <a:ext cx="1418997" cy="380976"/>
            </a:xfrm>
            <a:prstGeom prst="rect">
              <a:avLst/>
            </a:prstGeom>
            <a:noFill/>
          </p:spPr>
        </p:pic>
      </p:grpSp>
      <p:pic>
        <p:nvPicPr>
          <p:cNvPr id="43" name="Picture 4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38648" y="5170754"/>
            <a:ext cx="1418997" cy="380976"/>
          </a:xfrm>
          <a:prstGeom prst="rect">
            <a:avLst/>
          </a:prstGeom>
          <a:noFill/>
        </p:spPr>
      </p:pic>
      <p:sp>
        <p:nvSpPr>
          <p:cNvPr id="44" name="TextBox 43"/>
          <p:cNvSpPr txBox="1"/>
          <p:nvPr/>
        </p:nvSpPr>
        <p:spPr>
          <a:xfrm>
            <a:off x="8288122" y="2636694"/>
            <a:ext cx="514243" cy="246221"/>
          </a:xfrm>
          <a:prstGeom prst="rect">
            <a:avLst/>
          </a:prstGeom>
          <a:noFill/>
        </p:spPr>
        <p:txBody>
          <a:bodyPr wrap="none" lIns="0" tIns="0" rIns="0" bIns="0" rtlCol="0">
            <a:spAutoFit/>
          </a:bodyPr>
          <a:lstStyle/>
          <a:p>
            <a:pPr defTabSz="1218490"/>
            <a:r>
              <a:rPr lang="en-US" sz="1600" spc="-93" dirty="0">
                <a:solidFill>
                  <a:schemeClr val="bg1"/>
                </a:solidFill>
              </a:rPr>
              <a:t>UD </a:t>
            </a:r>
            <a:r>
              <a:rPr lang="en-US" sz="1600" spc="-93" dirty="0" smtClean="0">
                <a:solidFill>
                  <a:schemeClr val="bg1"/>
                </a:solidFill>
              </a:rPr>
              <a:t>#2</a:t>
            </a:r>
          </a:p>
        </p:txBody>
      </p:sp>
    </p:spTree>
    <p:extLst>
      <p:ext uri="{BB962C8B-B14F-4D97-AF65-F5344CB8AC3E}">
        <p14:creationId xmlns:p14="http://schemas.microsoft.com/office/powerpoint/2010/main" val="347210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Update Domains are honored by host OS updates</a:t>
            </a:r>
          </a:p>
        </p:txBody>
      </p:sp>
    </p:spTree>
    <p:extLst>
      <p:ext uri="{BB962C8B-B14F-4D97-AF65-F5344CB8AC3E}">
        <p14:creationId xmlns:p14="http://schemas.microsoft.com/office/powerpoint/2010/main" val="310005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ing</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3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53289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a:t>
            </a:r>
            <a:endParaRPr lang="en-US" dirty="0"/>
          </a:p>
        </p:txBody>
      </p:sp>
      <p:sp>
        <p:nvSpPr>
          <p:cNvPr id="3" name="Content Placeholder 2"/>
          <p:cNvSpPr>
            <a:spLocks noGrp="1"/>
          </p:cNvSpPr>
          <p:nvPr>
            <p:ph idx="1"/>
          </p:nvPr>
        </p:nvSpPr>
        <p:spPr>
          <a:xfrm>
            <a:off x="560798" y="1482812"/>
            <a:ext cx="6287514" cy="4419734"/>
          </a:xfrm>
        </p:spPr>
        <p:txBody>
          <a:bodyPr>
            <a:noAutofit/>
          </a:bodyPr>
          <a:lstStyle/>
          <a:p>
            <a:r>
              <a:rPr lang="en-US" sz="2800" dirty="0" smtClean="0"/>
              <a:t>Failover</a:t>
            </a:r>
          </a:p>
          <a:p>
            <a:pPr lvl="1"/>
            <a:r>
              <a:rPr lang="en-US" sz="2400" dirty="0" smtClean="0"/>
              <a:t>For auto swapping between primary and secondary endpoints</a:t>
            </a:r>
          </a:p>
          <a:p>
            <a:r>
              <a:rPr lang="en-US" sz="2800" dirty="0" smtClean="0"/>
              <a:t>Round Robin</a:t>
            </a:r>
          </a:p>
          <a:p>
            <a:pPr lvl="1"/>
            <a:r>
              <a:rPr lang="en-CA" sz="2400" dirty="0" smtClean="0"/>
              <a:t>To </a:t>
            </a:r>
            <a:r>
              <a:rPr lang="en-CA" sz="2400" dirty="0"/>
              <a:t>distribute load across a set of </a:t>
            </a:r>
            <a:r>
              <a:rPr lang="en-CA" sz="2400" dirty="0" smtClean="0"/>
              <a:t>endpoints</a:t>
            </a:r>
            <a:endParaRPr lang="en-US" sz="2400" dirty="0" smtClean="0"/>
          </a:p>
          <a:p>
            <a:r>
              <a:rPr lang="en-US" sz="2800" dirty="0" smtClean="0"/>
              <a:t>Performance</a:t>
            </a:r>
          </a:p>
          <a:p>
            <a:pPr lvl="1"/>
            <a:r>
              <a:rPr lang="en-US" sz="2400" dirty="0" smtClean="0"/>
              <a:t>To direct clients to the “closest” endpoint in terms of latency</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10335883"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8114664"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7361967"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8467336"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7791033"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7051808"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9600744"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9703171" y="2023103"/>
            <a:ext cx="2066841" cy="1342250"/>
            <a:chOff x="9527229" y="2432570"/>
            <a:chExt cx="1367093" cy="887819"/>
          </a:xfrm>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6879433"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7406003"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10076708"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119865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7651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47766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47814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65896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65605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7349" y="3240233"/>
            <a:ext cx="579675" cy="31467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24524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p:nvPr/>
        </p:nvCxnSpPr>
        <p:spPr>
          <a:xfrm>
            <a:off x="1691709" y="3034919"/>
            <a:ext cx="0" cy="62886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6006" y="2873297"/>
            <a:ext cx="0" cy="821315"/>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62536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27371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69647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69365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69438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504899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503946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504107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503154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503946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41504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35138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77229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90709628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119012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7850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6217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p:nvPr>
        </p:nvSpPr>
        <p:spPr>
          <a:xfrm>
            <a:off x="269240" y="289512"/>
            <a:ext cx="11655840" cy="899665"/>
          </a:xfrm>
        </p:spPr>
        <p:txBody>
          <a:bodyPr/>
          <a:lstStyle/>
          <a:p>
            <a:r>
              <a:rPr lang="da-DK" sz="4800" dirty="0" smtClean="0"/>
              <a:t>Microsoft Azure Key Vault</a:t>
            </a:r>
            <a:endParaRPr lang="da-DK" sz="4800" dirty="0"/>
          </a:p>
        </p:txBody>
      </p:sp>
      <p:grpSp>
        <p:nvGrpSpPr>
          <p:cNvPr id="219" name="Group 218"/>
          <p:cNvGrpSpPr/>
          <p:nvPr/>
        </p:nvGrpSpPr>
        <p:grpSpPr>
          <a:xfrm>
            <a:off x="11263454" y="54639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56" name="TextBox 155"/>
          <p:cNvSpPr txBox="1"/>
          <p:nvPr/>
        </p:nvSpPr>
        <p:spPr>
          <a:xfrm>
            <a:off x="-75304" y="6497620"/>
            <a:ext cx="3227294" cy="461665"/>
          </a:xfrm>
          <a:prstGeom prst="rect">
            <a:avLst/>
          </a:prstGeom>
          <a:noFill/>
        </p:spPr>
        <p:txBody>
          <a:bodyPr wrap="square" lIns="182880" tIns="146304" rIns="182880" bIns="146304" rtlCol="0">
            <a:spAutoFit/>
          </a:bodyPr>
          <a:lstStyle/>
          <a:p>
            <a:pPr>
              <a:lnSpc>
                <a:spcPct val="90000"/>
              </a:lnSpc>
            </a:pPr>
            <a:r>
              <a:rPr lang="en-US" sz="1100" dirty="0">
                <a:solidFill>
                  <a:srgbClr val="FFFFFF"/>
                </a:solidFill>
              </a:rPr>
              <a:t>Microsoft Confidential</a:t>
            </a:r>
          </a:p>
        </p:txBody>
      </p:sp>
      <p:grpSp>
        <p:nvGrpSpPr>
          <p:cNvPr id="97" name="Group 96"/>
          <p:cNvGrpSpPr/>
          <p:nvPr/>
        </p:nvGrpSpPr>
        <p:grpSpPr>
          <a:xfrm>
            <a:off x="10801980" y="53092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020344"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812618"/>
            <a:ext cx="674907" cy="338554"/>
          </a:xfrm>
          <a:prstGeom prst="rect">
            <a:avLst/>
          </a:prstGeom>
          <a:ln>
            <a:noFill/>
          </a:ln>
        </p:spPr>
        <p:txBody>
          <a:bodyPr vert="horz" wrap="square" lIns="0" tIns="0" rIns="0" bIns="0" rtlCol="0">
            <a:spAutoFit/>
          </a:bodyPr>
          <a:lstStyle/>
          <a:p>
            <a:r>
              <a:rPr lang="en-US" sz="1100" dirty="0" smtClean="0">
                <a:solidFill>
                  <a:srgbClr val="505050"/>
                </a:solidFill>
              </a:rPr>
              <a:t>Import </a:t>
            </a:r>
            <a:br>
              <a:rPr lang="en-US" sz="1100" dirty="0" smtClean="0">
                <a:solidFill>
                  <a:srgbClr val="505050"/>
                </a:solidFill>
              </a:rPr>
            </a:br>
            <a:r>
              <a:rPr lang="en-US" sz="1100" dirty="0" smtClean="0">
                <a:solidFill>
                  <a:srgbClr val="505050"/>
                </a:solidFill>
              </a:rPr>
              <a:t>keys</a:t>
            </a:r>
            <a:endParaRPr lang="en-US" sz="1100" dirty="0">
              <a:solidFill>
                <a:srgbClr val="505050"/>
              </a:solidFill>
            </a:endParaRPr>
          </a:p>
        </p:txBody>
      </p:sp>
      <p:grpSp>
        <p:nvGrpSpPr>
          <p:cNvPr id="401" name="Group 400"/>
          <p:cNvGrpSpPr/>
          <p:nvPr/>
        </p:nvGrpSpPr>
        <p:grpSpPr>
          <a:xfrm>
            <a:off x="5678392" y="52046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5870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3008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1" name="Group 90"/>
          <p:cNvGrpSpPr/>
          <p:nvPr/>
        </p:nvGrpSpPr>
        <p:grpSpPr>
          <a:xfrm>
            <a:off x="0" y="6522601"/>
            <a:ext cx="12192000" cy="354000"/>
            <a:chOff x="2577137" y="4571778"/>
            <a:chExt cx="9101124" cy="1390560"/>
          </a:xfrm>
        </p:grpSpPr>
        <p:sp>
          <p:nvSpPr>
            <p:cNvPr id="92" name="TextBox 4"/>
            <p:cNvSpPr txBox="1"/>
            <p:nvPr/>
          </p:nvSpPr>
          <p:spPr>
            <a:xfrm>
              <a:off x="2577137" y="4571778"/>
              <a:ext cx="3416327" cy="1390458"/>
            </a:xfrm>
            <a:prstGeom prst="rect">
              <a:avLst/>
            </a:prstGeom>
            <a:solidFill>
              <a:schemeClr val="accent2"/>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93" name="TextBox 5"/>
            <p:cNvSpPr txBox="1"/>
            <p:nvPr/>
          </p:nvSpPr>
          <p:spPr>
            <a:xfrm>
              <a:off x="4727278" y="4572002"/>
              <a:ext cx="3351966" cy="1390014"/>
            </a:xfrm>
            <a:prstGeom prst="rect">
              <a:avLst/>
            </a:prstGeom>
            <a:solidFill>
              <a:schemeClr val="accent2">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94" name="TextBox 6"/>
            <p:cNvSpPr txBox="1"/>
            <p:nvPr/>
          </p:nvSpPr>
          <p:spPr>
            <a:xfrm>
              <a:off x="8041939" y="4572324"/>
              <a:ext cx="3636322"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1578515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71225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p:nvPr>
        </p:nvSpPr>
        <p:spPr/>
        <p:txBody>
          <a:bodyPr/>
          <a:lstStyle/>
          <a:p>
            <a:r>
              <a:rPr lang="en-US" sz="4800" dirty="0"/>
              <a:t>Enhance data protection and compliance </a:t>
            </a:r>
          </a:p>
        </p:txBody>
      </p:sp>
      <p:sp>
        <p:nvSpPr>
          <p:cNvPr id="46" name="TextBox 45"/>
          <p:cNvSpPr txBox="1"/>
          <p:nvPr/>
        </p:nvSpPr>
        <p:spPr>
          <a:xfrm>
            <a:off x="121817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58" name="Group 57"/>
          <p:cNvGrpSpPr/>
          <p:nvPr/>
        </p:nvGrpSpPr>
        <p:grpSpPr>
          <a:xfrm>
            <a:off x="-75304" y="6497619"/>
            <a:ext cx="12267304" cy="461665"/>
            <a:chOff x="-75304" y="6497619"/>
            <a:chExt cx="12267304" cy="461665"/>
          </a:xfrm>
        </p:grpSpPr>
        <p:grpSp>
          <p:nvGrpSpPr>
            <p:cNvPr id="59" name="Group 58"/>
            <p:cNvGrpSpPr/>
            <p:nvPr/>
          </p:nvGrpSpPr>
          <p:grpSpPr>
            <a:xfrm>
              <a:off x="0" y="6522601"/>
              <a:ext cx="12192000" cy="354000"/>
              <a:chOff x="2577137" y="4571778"/>
              <a:chExt cx="9101124" cy="1390560"/>
            </a:xfrm>
          </p:grpSpPr>
          <p:sp>
            <p:nvSpPr>
              <p:cNvPr id="61" name="TextBox 4"/>
              <p:cNvSpPr txBox="1"/>
              <p:nvPr/>
            </p:nvSpPr>
            <p:spPr>
              <a:xfrm>
                <a:off x="2577137" y="4571778"/>
                <a:ext cx="3416327" cy="1390458"/>
              </a:xfrm>
              <a:prstGeom prst="rect">
                <a:avLst/>
              </a:prstGeom>
              <a:solidFill>
                <a:schemeClr val="accent2"/>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62" name="TextBox 5"/>
              <p:cNvSpPr txBox="1"/>
              <p:nvPr/>
            </p:nvSpPr>
            <p:spPr>
              <a:xfrm>
                <a:off x="4727278" y="4572002"/>
                <a:ext cx="3351966" cy="1390014"/>
              </a:xfrm>
              <a:prstGeom prst="rect">
                <a:avLst/>
              </a:prstGeom>
              <a:solidFill>
                <a:schemeClr val="accent2">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63" name="TextBox 6"/>
              <p:cNvSpPr txBox="1"/>
              <p:nvPr/>
            </p:nvSpPr>
            <p:spPr>
              <a:xfrm>
                <a:off x="8041939" y="4572324"/>
                <a:ext cx="3636322"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60" name="TextBox 59"/>
            <p:cNvSpPr txBox="1"/>
            <p:nvPr/>
          </p:nvSpPr>
          <p:spPr>
            <a:xfrm>
              <a:off x="-75304" y="6497619"/>
              <a:ext cx="3227294" cy="461665"/>
            </a:xfrm>
            <a:prstGeom prst="rect">
              <a:avLst/>
            </a:prstGeom>
            <a:noFill/>
          </p:spPr>
          <p:txBody>
            <a:bodyPr wrap="square" lIns="182880" tIns="146304" rIns="182880" bIns="146304" rtlCol="0">
              <a:spAutoFit/>
            </a:bodyPr>
            <a:lstStyle/>
            <a:p>
              <a:pPr>
                <a:lnSpc>
                  <a:spcPct val="90000"/>
                </a:lnSpc>
              </a:pPr>
              <a:r>
                <a:rPr lang="en-US" sz="1100" dirty="0">
                  <a:solidFill>
                    <a:srgbClr val="FFFFFF"/>
                  </a:solidFill>
                </a:rPr>
                <a:t>Microsoft Confidential</a:t>
              </a:r>
            </a:p>
          </p:txBody>
        </p:sp>
      </p:grpSp>
      <p:grpSp>
        <p:nvGrpSpPr>
          <p:cNvPr id="165" name="Group 164"/>
          <p:cNvGrpSpPr/>
          <p:nvPr/>
        </p:nvGrpSpPr>
        <p:grpSpPr>
          <a:xfrm>
            <a:off x="90595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153263648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Scaling</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Manual from portal</a:t>
            </a:r>
            <a:endParaRPr lang="en-US" dirty="0" smtClean="0">
              <a:solidFill>
                <a:schemeClr val="bg2"/>
              </a:solidFill>
              <a:latin typeface="+mj-lt"/>
            </a:endParaRPr>
          </a:p>
          <a:p>
            <a:r>
              <a:rPr lang="en-US"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From command line</a:t>
            </a:r>
            <a:endParaRPr lang="en-US" dirty="0" smtClean="0">
              <a:solidFill>
                <a:schemeClr val="bg1"/>
              </a:solidFill>
              <a:latin typeface="+mj-lt"/>
            </a:endParaRPr>
          </a:p>
          <a:p>
            <a:r>
              <a:rPr lang="en-US" dirty="0" smtClean="0">
                <a:solidFill>
                  <a:srgbClr val="92D050"/>
                </a:solidFill>
                <a:latin typeface="+mj-lt"/>
                <a:sym typeface="Wingdings" panose="05000000000000000000" pitchFamily="2" charset="2"/>
              </a:rPr>
              <a:t> </a:t>
            </a:r>
            <a:r>
              <a:rPr lang="en-US" altLang="zh-CN" dirty="0" smtClean="0">
                <a:solidFill>
                  <a:schemeClr val="bg1"/>
                </a:solidFill>
                <a:latin typeface="+mj-lt"/>
                <a:sym typeface="Wingdings" panose="05000000000000000000" pitchFamily="2" charset="2"/>
              </a:rPr>
              <a:t>Via Management APIs &amp; SDKs</a:t>
            </a:r>
            <a:endParaRPr lang="en-US" dirty="0" smtClean="0">
              <a:solidFill>
                <a:schemeClr val="bg1"/>
              </a:solidFill>
              <a:latin typeface="+mj-lt"/>
              <a:sym typeface="Wingdings" panose="05000000000000000000" pitchFamily="2" charset="2"/>
            </a:endParaRPr>
          </a:p>
          <a:p>
            <a:r>
              <a:rPr lang="en-US" dirty="0">
                <a:solidFill>
                  <a:srgbClr val="92D050"/>
                </a:solidFill>
                <a:latin typeface="+mj-lt"/>
                <a:sym typeface="Wingdings" panose="05000000000000000000" pitchFamily="2" charset="2"/>
              </a:rPr>
              <a:t> </a:t>
            </a:r>
            <a:r>
              <a:rPr lang="en-US" altLang="zh-CN" dirty="0" err="1">
                <a:solidFill>
                  <a:schemeClr val="bg1"/>
                </a:solidFill>
                <a:latin typeface="+mj-lt"/>
                <a:sym typeface="Wingdings" panose="05000000000000000000" pitchFamily="2" charset="2"/>
              </a:rPr>
              <a:t>Autoscale</a:t>
            </a:r>
            <a:endParaRPr lang="en-US" dirty="0">
              <a:solidFill>
                <a:schemeClr val="bg1"/>
              </a:solidFill>
              <a:latin typeface="+mj-lt"/>
              <a:sym typeface="Wingdings" panose="05000000000000000000" pitchFamily="2" charset="2"/>
            </a:endParaRPr>
          </a:p>
          <a:p>
            <a:endParaRPr lang="en-US" dirty="0" smtClean="0">
              <a:solidFill>
                <a:schemeClr val="bg1"/>
              </a:solidFill>
              <a:latin typeface="+mj-lt"/>
            </a:endParaRPr>
          </a:p>
        </p:txBody>
      </p:sp>
    </p:spTree>
    <p:extLst>
      <p:ext uri="{BB962C8B-B14F-4D97-AF65-F5344CB8AC3E}">
        <p14:creationId xmlns:p14="http://schemas.microsoft.com/office/powerpoint/2010/main" val="4292744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Up - Portal</a:t>
            </a:r>
            <a:endParaRPr lang="en-US" dirty="0"/>
          </a:p>
        </p:txBody>
      </p:sp>
      <p:pic>
        <p:nvPicPr>
          <p:cNvPr id="3" name="Picture 2"/>
          <p:cNvPicPr>
            <a:picLocks noChangeAspect="1"/>
          </p:cNvPicPr>
          <p:nvPr/>
        </p:nvPicPr>
        <p:blipFill>
          <a:blip r:embed="rId3"/>
          <a:stretch>
            <a:fillRect/>
          </a:stretch>
        </p:blipFill>
        <p:spPr>
          <a:xfrm>
            <a:off x="642923" y="1619673"/>
            <a:ext cx="6363027" cy="4330923"/>
          </a:xfrm>
          <a:prstGeom prst="rect">
            <a:avLst/>
          </a:prstGeom>
        </p:spPr>
      </p:pic>
      <p:pic>
        <p:nvPicPr>
          <p:cNvPr id="4" name="Picture 3"/>
          <p:cNvPicPr>
            <a:picLocks noChangeAspect="1"/>
          </p:cNvPicPr>
          <p:nvPr/>
        </p:nvPicPr>
        <p:blipFill>
          <a:blip r:embed="rId4">
            <a:duotone>
              <a:prstClr val="black"/>
              <a:schemeClr val="accent1">
                <a:tint val="45000"/>
                <a:satMod val="400000"/>
              </a:schemeClr>
            </a:duotone>
          </a:blip>
          <a:stretch>
            <a:fillRect/>
          </a:stretch>
        </p:blipFill>
        <p:spPr>
          <a:xfrm>
            <a:off x="7291958" y="3003207"/>
            <a:ext cx="1123499" cy="1026646"/>
          </a:xfrm>
          <a:prstGeom prst="rect">
            <a:avLst/>
          </a:prstGeom>
        </p:spPr>
      </p:pic>
      <p:pic>
        <p:nvPicPr>
          <p:cNvPr id="5" name="Picture 4"/>
          <p:cNvPicPr>
            <a:picLocks noChangeAspect="1"/>
          </p:cNvPicPr>
          <p:nvPr/>
        </p:nvPicPr>
        <p:blipFill>
          <a:blip r:embed="rId4">
            <a:duotone>
              <a:prstClr val="black"/>
              <a:schemeClr val="accent1">
                <a:tint val="45000"/>
                <a:satMod val="400000"/>
              </a:schemeClr>
            </a:duotone>
          </a:blip>
          <a:stretch>
            <a:fillRect/>
          </a:stretch>
        </p:blipFill>
        <p:spPr>
          <a:xfrm>
            <a:off x="9534644" y="2438201"/>
            <a:ext cx="2573937" cy="2352047"/>
          </a:xfrm>
          <a:prstGeom prst="rect">
            <a:avLst/>
          </a:prstGeom>
        </p:spPr>
      </p:pic>
      <p:cxnSp>
        <p:nvCxnSpPr>
          <p:cNvPr id="6" name="Straight Arrow Connector 5"/>
          <p:cNvCxnSpPr/>
          <p:nvPr/>
        </p:nvCxnSpPr>
        <p:spPr>
          <a:xfrm flipV="1">
            <a:off x="8674792" y="3397718"/>
            <a:ext cx="600517" cy="9625"/>
          </a:xfrm>
          <a:prstGeom prst="straightConnector1">
            <a:avLst/>
          </a:prstGeom>
          <a:ln w="57150">
            <a:solidFill>
              <a:srgbClr val="75E6FF"/>
            </a:solidFill>
            <a:tailEnd type="arrow"/>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240858664"/>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Up – Command Line</a:t>
            </a:r>
            <a:endParaRPr lang="en-US" dirty="0"/>
          </a:p>
        </p:txBody>
      </p:sp>
      <p:pic>
        <p:nvPicPr>
          <p:cNvPr id="3" name="Picture 2"/>
          <p:cNvPicPr>
            <a:picLocks noChangeAspect="1"/>
          </p:cNvPicPr>
          <p:nvPr/>
        </p:nvPicPr>
        <p:blipFill>
          <a:blip r:embed="rId3"/>
          <a:stretch>
            <a:fillRect/>
          </a:stretch>
        </p:blipFill>
        <p:spPr>
          <a:xfrm>
            <a:off x="265602" y="1641752"/>
            <a:ext cx="11506791" cy="6096313"/>
          </a:xfrm>
          <a:prstGeom prst="rect">
            <a:avLst/>
          </a:prstGeom>
        </p:spPr>
      </p:pic>
    </p:spTree>
    <p:extLst>
      <p:ext uri="{BB962C8B-B14F-4D97-AF65-F5344CB8AC3E}">
        <p14:creationId xmlns:p14="http://schemas.microsoft.com/office/powerpoint/2010/main" val="67544404"/>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Up – APIs &amp; SDK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3087202"/>
              </p:ext>
            </p:extLst>
          </p:nvPr>
        </p:nvGraphicFramePr>
        <p:xfrm>
          <a:off x="662517" y="2559685"/>
          <a:ext cx="11080750" cy="1280160"/>
        </p:xfrm>
        <a:graphic>
          <a:graphicData uri="http://schemas.openxmlformats.org/drawingml/2006/table">
            <a:tbl>
              <a:tblPr/>
              <a:tblGrid>
                <a:gridCol w="1480079">
                  <a:extLst>
                    <a:ext uri="{9D8B030D-6E8A-4147-A177-3AD203B41FA5}">
                      <a16:colId xmlns:a16="http://schemas.microsoft.com/office/drawing/2014/main" xmlns="" val="3359282789"/>
                    </a:ext>
                  </a:extLst>
                </a:gridCol>
                <a:gridCol w="9600671">
                  <a:extLst>
                    <a:ext uri="{9D8B030D-6E8A-4147-A177-3AD203B41FA5}">
                      <a16:colId xmlns:a16="http://schemas.microsoft.com/office/drawing/2014/main" xmlns="" val="3823199311"/>
                    </a:ext>
                  </a:extLst>
                </a:gridCol>
              </a:tblGrid>
              <a:tr h="0">
                <a:tc>
                  <a:txBody>
                    <a:bodyPr/>
                    <a:lstStyle/>
                    <a:p>
                      <a:r>
                        <a:rPr lang="en-US" b="1" dirty="0">
                          <a:solidFill>
                            <a:schemeClr val="bg1"/>
                          </a:solidFill>
                        </a:rPr>
                        <a:t>Method </a:t>
                      </a:r>
                    </a:p>
                  </a:txBody>
                  <a:tcPr anchor="ctr">
                    <a:lnL>
                      <a:noFill/>
                    </a:lnL>
                    <a:lnR>
                      <a:noFill/>
                    </a:lnR>
                    <a:lnT>
                      <a:noFill/>
                    </a:lnT>
                    <a:lnB>
                      <a:noFill/>
                    </a:lnB>
                  </a:tcPr>
                </a:tc>
                <a:tc>
                  <a:txBody>
                    <a:bodyPr/>
                    <a:lstStyle/>
                    <a:p>
                      <a:r>
                        <a:rPr lang="en-US" b="1" dirty="0">
                          <a:solidFill>
                            <a:schemeClr val="bg1"/>
                          </a:solidFill>
                        </a:rPr>
                        <a:t>Request URI </a:t>
                      </a:r>
                    </a:p>
                  </a:txBody>
                  <a:tcPr anchor="ctr">
                    <a:lnL>
                      <a:noFill/>
                    </a:lnL>
                    <a:lnR>
                      <a:noFill/>
                    </a:lnR>
                    <a:lnT>
                      <a:noFill/>
                    </a:lnT>
                    <a:lnB>
                      <a:noFill/>
                    </a:lnB>
                  </a:tcPr>
                </a:tc>
                <a:extLst>
                  <a:ext uri="{0D108BD9-81ED-4DB2-BD59-A6C34878D82A}">
                    <a16:rowId xmlns:a16="http://schemas.microsoft.com/office/drawing/2014/main" xmlns="" val="825669567"/>
                  </a:ext>
                </a:extLst>
              </a:tr>
              <a:tr h="0">
                <a:tc>
                  <a:txBody>
                    <a:bodyPr/>
                    <a:lstStyle/>
                    <a:p>
                      <a:r>
                        <a:rPr lang="en-US" dirty="0">
                          <a:solidFill>
                            <a:schemeClr val="bg1"/>
                          </a:solidFill>
                        </a:rPr>
                        <a:t>PUT</a:t>
                      </a:r>
                    </a:p>
                  </a:txBody>
                  <a:tcPr anchor="ctr">
                    <a:lnL>
                      <a:noFill/>
                    </a:lnL>
                    <a:lnR>
                      <a:noFill/>
                    </a:lnR>
                    <a:lnT>
                      <a:noFill/>
                    </a:lnT>
                    <a:lnB>
                      <a:noFill/>
                    </a:lnB>
                  </a:tcPr>
                </a:tc>
                <a:tc>
                  <a:txBody>
                    <a:bodyPr/>
                    <a:lstStyle/>
                    <a:p>
                      <a:r>
                        <a:rPr lang="en-US" dirty="0">
                          <a:solidFill>
                            <a:schemeClr val="bg1"/>
                          </a:solidFill>
                        </a:rPr>
                        <a:t>https://management.core.windows.net/&lt;subscription-id&gt;/services/hostedservices/&lt;cloudservice-name&gt;/deployments/&lt;deployment-name&gt;/roles/&lt;role-name&gt; </a:t>
                      </a:r>
                    </a:p>
                  </a:txBody>
                  <a:tcPr anchor="ctr">
                    <a:lnL>
                      <a:noFill/>
                    </a:lnL>
                    <a:lnR>
                      <a:noFill/>
                    </a:lnR>
                    <a:lnT>
                      <a:noFill/>
                    </a:lnT>
                    <a:lnB>
                      <a:noFill/>
                    </a:lnB>
                  </a:tcPr>
                </a:tc>
                <a:extLst>
                  <a:ext uri="{0D108BD9-81ED-4DB2-BD59-A6C34878D82A}">
                    <a16:rowId xmlns:a16="http://schemas.microsoft.com/office/drawing/2014/main" xmlns="" val="1544059432"/>
                  </a:ext>
                </a:extLst>
              </a:tr>
            </a:tbl>
          </a:graphicData>
        </a:graphic>
      </p:graphicFrame>
      <p:sp>
        <p:nvSpPr>
          <p:cNvPr id="7" name="Rectangle 6"/>
          <p:cNvSpPr/>
          <p:nvPr/>
        </p:nvSpPr>
        <p:spPr>
          <a:xfrm>
            <a:off x="493065" y="1928969"/>
            <a:ext cx="6096000" cy="523220"/>
          </a:xfrm>
          <a:prstGeom prst="rect">
            <a:avLst/>
          </a:prstGeom>
        </p:spPr>
        <p:txBody>
          <a:bodyPr>
            <a:spAutoFit/>
          </a:bodyPr>
          <a:lstStyle/>
          <a:p>
            <a:r>
              <a:rPr lang="en-US" sz="2800" dirty="0" smtClean="0">
                <a:solidFill>
                  <a:schemeClr val="bg1"/>
                </a:solidFill>
              </a:rPr>
              <a:t>HTTP Service Management API</a:t>
            </a:r>
            <a:endParaRPr lang="en-US" sz="2800" dirty="0">
              <a:solidFill>
                <a:schemeClr val="bg1"/>
              </a:solidFill>
            </a:endParaRPr>
          </a:p>
        </p:txBody>
      </p:sp>
      <p:sp>
        <p:nvSpPr>
          <p:cNvPr id="8" name="Rectangle 7"/>
          <p:cNvSpPr/>
          <p:nvPr/>
        </p:nvSpPr>
        <p:spPr>
          <a:xfrm>
            <a:off x="560797" y="4579036"/>
            <a:ext cx="12630269" cy="523220"/>
          </a:xfrm>
          <a:prstGeom prst="rect">
            <a:avLst/>
          </a:prstGeom>
        </p:spPr>
        <p:txBody>
          <a:bodyPr wrap="square">
            <a:spAutoFit/>
          </a:bodyPr>
          <a:lstStyle/>
          <a:p>
            <a:r>
              <a:rPr lang="en-US" sz="2800" dirty="0" smtClean="0">
                <a:solidFill>
                  <a:schemeClr val="bg1"/>
                </a:solidFill>
              </a:rPr>
              <a:t>Service Management SDKs for .NET, PHP, Ruby, Python, Java, Go &amp; more</a:t>
            </a:r>
            <a:endParaRPr lang="en-US" sz="2800" dirty="0">
              <a:solidFill>
                <a:schemeClr val="bg1"/>
              </a:solidFill>
            </a:endParaRPr>
          </a:p>
        </p:txBody>
      </p:sp>
      <p:graphicFrame>
        <p:nvGraphicFramePr>
          <p:cNvPr id="9" name="Object 8"/>
          <p:cNvGraphicFramePr>
            <a:graphicFrameLocks noChangeAspect="1"/>
          </p:cNvGraphicFramePr>
          <p:nvPr>
            <p:extLst>
              <p:ext uri="{D42A27DB-BD31-4B8C-83A1-F6EECF244321}">
                <p14:modId xmlns:p14="http://schemas.microsoft.com/office/powerpoint/2010/main" val="1205726822"/>
              </p:ext>
            </p:extLst>
          </p:nvPr>
        </p:nvGraphicFramePr>
        <p:xfrm>
          <a:off x="662517" y="5225367"/>
          <a:ext cx="7277100" cy="1320800"/>
        </p:xfrm>
        <a:graphic>
          <a:graphicData uri="http://schemas.openxmlformats.org/presentationml/2006/ole">
            <mc:AlternateContent xmlns:mc="http://schemas.openxmlformats.org/markup-compatibility/2006">
              <mc:Choice xmlns:v="urn:schemas-microsoft-com:vml" Requires="v">
                <p:oleObj spid="_x0000_s1103" name="Image" r:id="rId4" imgW="7277400" imgH="1320840" progId="Photoshop.Image.15">
                  <p:embed/>
                </p:oleObj>
              </mc:Choice>
              <mc:Fallback>
                <p:oleObj name="Image" r:id="rId4" imgW="7277400" imgH="1320840" progId="Photoshop.Image.15">
                  <p:embed/>
                  <p:pic>
                    <p:nvPicPr>
                      <p:cNvPr id="0" name=""/>
                      <p:cNvPicPr/>
                      <p:nvPr/>
                    </p:nvPicPr>
                    <p:blipFill>
                      <a:blip r:embed="rId5"/>
                      <a:stretch>
                        <a:fillRect/>
                      </a:stretch>
                    </p:blipFill>
                    <p:spPr>
                      <a:xfrm>
                        <a:off x="662517" y="5225367"/>
                        <a:ext cx="7277100" cy="1320800"/>
                      </a:xfrm>
                      <a:prstGeom prst="rect">
                        <a:avLst/>
                      </a:prstGeom>
                    </p:spPr>
                  </p:pic>
                </p:oleObj>
              </mc:Fallback>
            </mc:AlternateContent>
          </a:graphicData>
        </a:graphic>
      </p:graphicFrame>
    </p:spTree>
    <p:extLst>
      <p:ext uri="{BB962C8B-B14F-4D97-AF65-F5344CB8AC3E}">
        <p14:creationId xmlns:p14="http://schemas.microsoft.com/office/powerpoint/2010/main" val="1381271410"/>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 Scale</a:t>
            </a:r>
            <a:endParaRPr lang="en-US" dirty="0"/>
          </a:p>
        </p:txBody>
      </p:sp>
      <p:sp>
        <p:nvSpPr>
          <p:cNvPr id="3" name="TextBox 2"/>
          <p:cNvSpPr txBox="1"/>
          <p:nvPr/>
        </p:nvSpPr>
        <p:spPr>
          <a:xfrm>
            <a:off x="560798" y="1763485"/>
            <a:ext cx="11539826" cy="4031873"/>
          </a:xfrm>
          <a:prstGeom prst="rect">
            <a:avLst/>
          </a:prstGeom>
          <a:noFill/>
        </p:spPr>
        <p:txBody>
          <a:bodyPr wrap="none" rtlCol="0">
            <a:spAutoFit/>
          </a:bodyPr>
          <a:lstStyle/>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Doesn’t auto scale size but rather # of instances</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Turns existing instances on/off as configured</a:t>
            </a: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Why is that good? You don’t pay when </a:t>
            </a:r>
            <a:r>
              <a:rPr lang="en-US" sz="4000" dirty="0" err="1" smtClean="0">
                <a:solidFill>
                  <a:schemeClr val="bg1"/>
                </a:solidFill>
              </a:rPr>
              <a:t>stoppe</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Scale either by metric or by schedule</a:t>
            </a: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Configure how quickly or slowly to scale</a:t>
            </a:r>
          </a:p>
          <a:p>
            <a:pPr marL="571500" indent="-571500">
              <a:lnSpc>
                <a:spcPct val="90000"/>
              </a:lnSpc>
              <a:spcBef>
                <a:spcPct val="20000"/>
              </a:spcBef>
              <a:buSzPct val="80000"/>
              <a:buFont typeface="Arial" panose="020B0604020202020204" pitchFamily="34" charset="0"/>
              <a:buChar char="•"/>
            </a:pPr>
            <a:r>
              <a:rPr lang="en-US" sz="4000" dirty="0" err="1" smtClean="0">
                <a:solidFill>
                  <a:schemeClr val="bg1"/>
                </a:solidFill>
              </a:rPr>
              <a:t>Autoscale</a:t>
            </a:r>
            <a:r>
              <a:rPr lang="en-US" sz="4000" dirty="0" smtClean="0">
                <a:solidFill>
                  <a:schemeClr val="bg1"/>
                </a:solidFill>
              </a:rPr>
              <a:t> is configured per cloud service</a:t>
            </a:r>
          </a:p>
        </p:txBody>
      </p:sp>
    </p:spTree>
    <p:extLst>
      <p:ext uri="{BB962C8B-B14F-4D97-AF65-F5344CB8AC3E}">
        <p14:creationId xmlns:p14="http://schemas.microsoft.com/office/powerpoint/2010/main" val="1318887541"/>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onfiguring </a:t>
            </a:r>
            <a:r>
              <a:rPr lang="en-US" dirty="0" err="1" smtClean="0"/>
              <a:t>Autoscale</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VM </a:t>
            </a:r>
            <a:r>
              <a:rPr lang="en-US" sz="4400" dirty="0" err="1" smtClean="0">
                <a:latin typeface="+mj-lt"/>
              </a:rPr>
              <a:t>autoscaling</a:t>
            </a:r>
            <a:r>
              <a:rPr lang="en-US" sz="4400" dirty="0" smtClean="0">
                <a:latin typeface="+mj-lt"/>
              </a:rPr>
              <a:t> using Azure portal</a:t>
            </a:r>
            <a:endParaRPr lang="en-US" sz="4400" dirty="0">
              <a:latin typeface="+mj-lt"/>
            </a:endParaRPr>
          </a:p>
        </p:txBody>
      </p:sp>
    </p:spTree>
    <p:extLst>
      <p:ext uri="{BB962C8B-B14F-4D97-AF65-F5344CB8AC3E}">
        <p14:creationId xmlns:p14="http://schemas.microsoft.com/office/powerpoint/2010/main" val="169593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a:t>
            </a:r>
            <a:r>
              <a:rPr lang="en-US" altLang="zh-CN" sz="13800" dirty="0" smtClean="0">
                <a:solidFill>
                  <a:schemeClr val="bg1"/>
                </a:solidFill>
              </a:rPr>
              <a:t>Networks</a:t>
            </a:r>
            <a:endParaRPr lang="en-US" sz="13800" dirty="0">
              <a:solidFill>
                <a:schemeClr val="bg1"/>
              </a:solidFill>
            </a:endParaRPr>
          </a:p>
        </p:txBody>
      </p:sp>
    </p:spTree>
    <p:extLst>
      <p:ext uri="{BB962C8B-B14F-4D97-AF65-F5344CB8AC3E}">
        <p14:creationId xmlns:p14="http://schemas.microsoft.com/office/powerpoint/2010/main" val="74891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Network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A protected private virtual network in cloud</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Extend enterprise networks into Azure</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ross-premises connectivity</a:t>
            </a:r>
          </a:p>
        </p:txBody>
      </p:sp>
    </p:spTree>
    <p:extLst>
      <p:ext uri="{BB962C8B-B14F-4D97-AF65-F5344CB8AC3E}">
        <p14:creationId xmlns:p14="http://schemas.microsoft.com/office/powerpoint/2010/main" val="324040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Scenarios</a:t>
            </a:r>
            <a:endParaRPr lang="en-US" dirty="0"/>
          </a:p>
        </p:txBody>
      </p:sp>
      <p:sp>
        <p:nvSpPr>
          <p:cNvPr id="3" name="Content Placeholder 2"/>
          <p:cNvSpPr>
            <a:spLocks noGrp="1"/>
          </p:cNvSpPr>
          <p:nvPr>
            <p:ph idx="1"/>
          </p:nvPr>
        </p:nvSpPr>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50</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44089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premises Connectivity</a:t>
            </a:r>
            <a:endParaRPr lang="en-US" dirty="0"/>
          </a:p>
        </p:txBody>
      </p:sp>
      <p:sp>
        <p:nvSpPr>
          <p:cNvPr id="3" name="Content Placeholder 2"/>
          <p:cNvSpPr>
            <a:spLocks noGrp="1"/>
          </p:cNvSpPr>
          <p:nvPr>
            <p:ph idx="1"/>
          </p:nvPr>
        </p:nvSpPr>
        <p:spPr/>
        <p:txBody>
          <a:bodyPr>
            <a:noAutofit/>
          </a:bodyPr>
          <a:lstStyle/>
          <a:p>
            <a:r>
              <a:rPr lang="en-US" sz="2800" dirty="0" smtClean="0"/>
              <a:t>Site-to</a:t>
            </a:r>
            <a:r>
              <a:rPr lang="en-US" altLang="zh-CN" sz="2800" dirty="0" smtClean="0"/>
              <a:t>-site</a:t>
            </a:r>
          </a:p>
          <a:p>
            <a:pPr marL="457200" lvl="1" indent="0">
              <a:buNone/>
            </a:pPr>
            <a:r>
              <a:rPr lang="en-US" altLang="zh-CN" sz="2000" dirty="0"/>
              <a:t>Create a secure connection between your on-premises site and your virtual network</a:t>
            </a:r>
          </a:p>
          <a:p>
            <a:r>
              <a:rPr lang="en-US" altLang="zh-CN" sz="28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2800" dirty="0" err="1" smtClean="0"/>
              <a:t>ExpressRoute</a:t>
            </a:r>
            <a:r>
              <a:rPr lang="en-US" altLang="zh-CN" sz="2800" baseline="30000" dirty="0" err="1" smtClean="0"/>
              <a:t>TM</a:t>
            </a:r>
            <a:endParaRPr lang="en-US" altLang="zh-CN" sz="28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000" baseline="30000" dirty="0"/>
              <a:t>Connect at an </a:t>
            </a:r>
            <a:r>
              <a:rPr lang="en-US" altLang="zh-CN" sz="2000" baseline="30000" dirty="0" err="1"/>
              <a:t>ExpressRoute</a:t>
            </a:r>
            <a:r>
              <a:rPr lang="en-US" altLang="zh-CN" sz="2000" baseline="30000" dirty="0"/>
              <a:t> location (Exchange Provider facility)</a:t>
            </a:r>
          </a:p>
          <a:p>
            <a:pPr lvl="2"/>
            <a:r>
              <a:rPr lang="en-US" altLang="zh-CN" sz="2000" baseline="30000" dirty="0"/>
              <a:t>Direct connect via a Network Service Provider</a:t>
            </a:r>
          </a:p>
          <a:p>
            <a:pPr lvl="1"/>
            <a:endParaRPr lang="en-US" altLang="zh-CN" sz="2400" baseline="30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51</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100709" y="4680829"/>
            <a:ext cx="5080678" cy="1571921"/>
            <a:chOff x="6810148" y="4977493"/>
            <a:chExt cx="4214130" cy="1295615"/>
          </a:xfrm>
        </p:grpSpPr>
        <p:pic>
          <p:nvPicPr>
            <p:cNvPr id="7" name="Picture 6"/>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73941404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Virtual Network</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Point-to-Site connection</a:t>
            </a:r>
            <a:endParaRPr lang="en-US" sz="4400" dirty="0">
              <a:latin typeface="+mj-lt"/>
            </a:endParaRPr>
          </a:p>
        </p:txBody>
      </p:sp>
    </p:spTree>
    <p:extLst>
      <p:ext uri="{BB962C8B-B14F-4D97-AF65-F5344CB8AC3E}">
        <p14:creationId xmlns:p14="http://schemas.microsoft.com/office/powerpoint/2010/main" val="119083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err="1" smtClean="0">
                <a:solidFill>
                  <a:schemeClr val="bg1"/>
                </a:solidFill>
              </a:rPr>
              <a:t>Docker</a:t>
            </a:r>
            <a:endParaRPr lang="en-US" sz="13800" dirty="0">
              <a:solidFill>
                <a:schemeClr val="bg1"/>
              </a:solidFill>
            </a:endParaRPr>
          </a:p>
        </p:txBody>
      </p:sp>
    </p:spTree>
    <p:extLst>
      <p:ext uri="{BB962C8B-B14F-4D97-AF65-F5344CB8AC3E}">
        <p14:creationId xmlns:p14="http://schemas.microsoft.com/office/powerpoint/2010/main" val="33379120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err="1" smtClean="0">
                <a:solidFill>
                  <a:schemeClr val="bg2"/>
                </a:solidFill>
              </a:rPr>
              <a:t>Docker</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What is </a:t>
            </a:r>
            <a:r>
              <a:rPr lang="en-US" dirty="0" err="1">
                <a:solidFill>
                  <a:schemeClr val="bg2"/>
                </a:solidFill>
                <a:latin typeface="+mj-lt"/>
                <a:sym typeface="Wingdings" panose="05000000000000000000" pitchFamily="2" charset="2"/>
              </a:rPr>
              <a:t>D</a:t>
            </a:r>
            <a:r>
              <a:rPr lang="en-US" dirty="0" err="1" smtClean="0">
                <a:solidFill>
                  <a:schemeClr val="bg2"/>
                </a:solidFill>
                <a:latin typeface="+mj-lt"/>
                <a:sym typeface="Wingdings" panose="05000000000000000000" pitchFamily="2" charset="2"/>
              </a:rPr>
              <a:t>ocker</a:t>
            </a:r>
            <a:r>
              <a:rPr lang="en-US" dirty="0" smtClean="0">
                <a:solidFill>
                  <a:schemeClr val="bg2"/>
                </a:solidFill>
                <a:latin typeface="+mj-lt"/>
                <a:sym typeface="Wingdings" panose="05000000000000000000" pitchFamily="2" charset="2"/>
              </a:rPr>
              <a:t>?</a:t>
            </a:r>
            <a:endParaRPr lang="en-US" dirty="0" smtClean="0">
              <a:solidFill>
                <a:schemeClr val="bg2"/>
              </a:solidFill>
              <a:latin typeface="+mj-lt"/>
            </a:endParaRPr>
          </a:p>
          <a:p>
            <a:r>
              <a:rPr lang="en-US" dirty="0" smtClean="0">
                <a:solidFill>
                  <a:srgbClr val="92D050"/>
                </a:solidFill>
                <a:latin typeface="+mj-lt"/>
                <a:sym typeface="Wingdings" panose="05000000000000000000" pitchFamily="2" charset="2"/>
              </a:rPr>
              <a:t> </a:t>
            </a:r>
            <a:r>
              <a:rPr lang="en-US" dirty="0" err="1" smtClean="0">
                <a:solidFill>
                  <a:schemeClr val="bg1"/>
                </a:solidFill>
                <a:latin typeface="+mj-lt"/>
                <a:sym typeface="Wingdings" panose="05000000000000000000" pitchFamily="2" charset="2"/>
              </a:rPr>
              <a:t>Docker</a:t>
            </a:r>
            <a:r>
              <a:rPr lang="en-US" dirty="0" smtClean="0">
                <a:solidFill>
                  <a:schemeClr val="bg1"/>
                </a:solidFill>
                <a:latin typeface="+mj-lt"/>
                <a:sym typeface="Wingdings" panose="05000000000000000000" pitchFamily="2" charset="2"/>
              </a:rPr>
              <a:t> architecture, Hub, Compose</a:t>
            </a:r>
            <a:endParaRPr lang="en-US" dirty="0" smtClean="0">
              <a:solidFill>
                <a:schemeClr val="bg1"/>
              </a:solidFill>
              <a:latin typeface="+mj-lt"/>
            </a:endParaRPr>
          </a:p>
          <a:p>
            <a:r>
              <a:rPr lang="en-US"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Creating a LAMP stack with </a:t>
            </a:r>
            <a:r>
              <a:rPr lang="en-US" dirty="0" err="1" smtClean="0">
                <a:solidFill>
                  <a:schemeClr val="bg1"/>
                </a:solidFill>
                <a:latin typeface="+mj-lt"/>
                <a:sym typeface="Wingdings" panose="05000000000000000000" pitchFamily="2" charset="2"/>
              </a:rPr>
              <a:t>Docker</a:t>
            </a:r>
            <a:endParaRPr lang="en-US" dirty="0" smtClean="0">
              <a:solidFill>
                <a:schemeClr val="bg1"/>
              </a:solidFill>
              <a:latin typeface="+mj-lt"/>
              <a:sym typeface="Wingdings" panose="05000000000000000000" pitchFamily="2" charset="2"/>
            </a:endParaRPr>
          </a:p>
          <a:p>
            <a:r>
              <a:rPr lang="en-US" dirty="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Deploying </a:t>
            </a:r>
            <a:r>
              <a:rPr lang="en-US" dirty="0" err="1" smtClean="0">
                <a:solidFill>
                  <a:schemeClr val="bg1"/>
                </a:solidFill>
                <a:latin typeface="+mj-lt"/>
                <a:sym typeface="Wingdings" panose="05000000000000000000" pitchFamily="2" charset="2"/>
              </a:rPr>
              <a:t>Docker</a:t>
            </a:r>
            <a:r>
              <a:rPr lang="en-US" dirty="0" smtClean="0">
                <a:solidFill>
                  <a:schemeClr val="bg1"/>
                </a:solidFill>
                <a:latin typeface="+mj-lt"/>
                <a:sym typeface="Wingdings" panose="05000000000000000000" pitchFamily="2" charset="2"/>
              </a:rPr>
              <a:t> containers to Azure</a:t>
            </a:r>
            <a:endParaRPr lang="en-US" dirty="0">
              <a:solidFill>
                <a:schemeClr val="bg1"/>
              </a:solidFill>
              <a:latin typeface="+mj-lt"/>
              <a:sym typeface="Wingdings" panose="05000000000000000000" pitchFamily="2" charset="2"/>
            </a:endParaRPr>
          </a:p>
          <a:p>
            <a:endParaRPr lang="en-US" dirty="0" smtClean="0">
              <a:solidFill>
                <a:schemeClr val="bg1"/>
              </a:solidFill>
              <a:latin typeface="+mj-lt"/>
            </a:endParaRPr>
          </a:p>
        </p:txBody>
      </p:sp>
    </p:spTree>
    <p:extLst>
      <p:ext uri="{BB962C8B-B14F-4D97-AF65-F5344CB8AC3E}">
        <p14:creationId xmlns:p14="http://schemas.microsoft.com/office/powerpoint/2010/main" val="3631841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t>
            </a:r>
            <a:r>
              <a:rPr lang="en-US" dirty="0" err="1" smtClean="0"/>
              <a:t>Docker</a:t>
            </a:r>
            <a:r>
              <a:rPr lang="en-US" dirty="0" smtClean="0"/>
              <a:t>?</a:t>
            </a:r>
            <a:endParaRPr lang="en-US" dirty="0"/>
          </a:p>
        </p:txBody>
      </p:sp>
      <p:sp>
        <p:nvSpPr>
          <p:cNvPr id="3" name="Content Placeholder 2"/>
          <p:cNvSpPr>
            <a:spLocks noGrp="1"/>
          </p:cNvSpPr>
          <p:nvPr>
            <p:ph idx="1"/>
          </p:nvPr>
        </p:nvSpPr>
        <p:spPr/>
        <p:txBody>
          <a:bodyPr>
            <a:noAutofit/>
          </a:bodyPr>
          <a:lstStyle/>
          <a:p>
            <a:r>
              <a:rPr lang="en-US" sz="2800" dirty="0" err="1" smtClean="0"/>
              <a:t>Docker</a:t>
            </a:r>
            <a:r>
              <a:rPr lang="en-US" sz="2800" dirty="0" smtClean="0"/>
              <a:t> is a platform for developers and </a:t>
            </a:r>
            <a:r>
              <a:rPr lang="en-US" sz="2800" dirty="0" err="1" smtClean="0"/>
              <a:t>sysadmins</a:t>
            </a:r>
            <a:r>
              <a:rPr lang="en-US" sz="2800" dirty="0" smtClean="0"/>
              <a:t> to develop, ship and run applications in containers.</a:t>
            </a:r>
          </a:p>
          <a:p>
            <a:pPr marL="457200" lvl="1" indent="0">
              <a:buNone/>
            </a:pPr>
            <a:r>
              <a:rPr lang="en-US" sz="2400" dirty="0" smtClean="0"/>
              <a:t>Containers are essentially lightweight and fast </a:t>
            </a:r>
            <a:r>
              <a:rPr lang="en-US" sz="2400" dirty="0"/>
              <a:t>V</a:t>
            </a:r>
            <a:r>
              <a:rPr lang="en-US" sz="2400" dirty="0" smtClean="0"/>
              <a:t>irtual </a:t>
            </a:r>
            <a:r>
              <a:rPr lang="en-US" sz="2400" dirty="0"/>
              <a:t>M</a:t>
            </a:r>
            <a:r>
              <a:rPr lang="en-US" sz="2400" dirty="0" smtClean="0"/>
              <a:t>achines.</a:t>
            </a:r>
            <a:r>
              <a:rPr lang="en-US" sz="2400" dirty="0" smtClean="0"/>
              <a:t> You can deploy containers anywhere, including desktops, physical servers, virtual machines and on multiple different platforms.</a:t>
            </a:r>
          </a:p>
          <a:p>
            <a:r>
              <a:rPr lang="en-US" sz="2800" dirty="0" err="1" smtClean="0"/>
              <a:t>Docker</a:t>
            </a:r>
            <a:r>
              <a:rPr lang="en-US" sz="2800" dirty="0" smtClean="0"/>
              <a:t> allows you to assemble applications from components. In the </a:t>
            </a:r>
            <a:r>
              <a:rPr lang="en-US" sz="2800" dirty="0" err="1" smtClean="0"/>
              <a:t>Docker</a:t>
            </a:r>
            <a:r>
              <a:rPr lang="en-US" sz="2800" dirty="0" smtClean="0"/>
              <a:t> Hub. </a:t>
            </a:r>
          </a:p>
          <a:p>
            <a:r>
              <a:rPr lang="en-US" sz="2800" dirty="0" err="1" smtClean="0"/>
              <a:t>Docker</a:t>
            </a:r>
            <a:r>
              <a:rPr lang="en-US" sz="2800" dirty="0" smtClean="0"/>
              <a:t> allows developers to replicate their local infrastructure on the server and helps </a:t>
            </a:r>
            <a:r>
              <a:rPr lang="en-US" sz="2800" dirty="0" err="1" smtClean="0"/>
              <a:t>sysadmins</a:t>
            </a:r>
            <a:r>
              <a:rPr lang="en-US" sz="2800" dirty="0" smtClean="0"/>
              <a:t> understand how developers are building their applications. </a:t>
            </a:r>
            <a:endParaRPr lang="en-US" sz="2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5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22900907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Docker</a:t>
            </a:r>
            <a:r>
              <a:rPr lang="en-US" dirty="0" smtClean="0"/>
              <a:t> Architecture</a:t>
            </a:r>
            <a:endParaRPr lang="en-US" dirty="0"/>
          </a:p>
        </p:txBody>
      </p:sp>
      <p:sp>
        <p:nvSpPr>
          <p:cNvPr id="3" name="Content Placeholder 2"/>
          <p:cNvSpPr>
            <a:spLocks noGrp="1"/>
          </p:cNvSpPr>
          <p:nvPr>
            <p:ph idx="1"/>
          </p:nvPr>
        </p:nvSpPr>
        <p:spPr/>
        <p:txBody>
          <a:bodyPr>
            <a:noAutofit/>
          </a:bodyPr>
          <a:lstStyle/>
          <a:p>
            <a:endParaRPr lang="en-US" sz="2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5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5" name="Picture 4"/>
          <p:cNvPicPr>
            <a:picLocks noChangeAspect="1"/>
          </p:cNvPicPr>
          <p:nvPr/>
        </p:nvPicPr>
        <p:blipFill>
          <a:blip r:embed="rId3"/>
          <a:stretch>
            <a:fillRect/>
          </a:stretch>
        </p:blipFill>
        <p:spPr>
          <a:xfrm>
            <a:off x="3569901" y="1209622"/>
            <a:ext cx="5061616" cy="4966114"/>
          </a:xfrm>
          <a:prstGeom prst="rect">
            <a:avLst/>
          </a:prstGeom>
        </p:spPr>
      </p:pic>
    </p:spTree>
    <p:extLst>
      <p:ext uri="{BB962C8B-B14F-4D97-AF65-F5344CB8AC3E}">
        <p14:creationId xmlns:p14="http://schemas.microsoft.com/office/powerpoint/2010/main" val="33591664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a:t>
            </a:r>
            <a:r>
              <a:rPr lang="en-US" dirty="0" smtClean="0"/>
              <a:t>Creating a LAMP Stack</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Creating a </a:t>
            </a:r>
            <a:r>
              <a:rPr lang="en-US" sz="4400" dirty="0" err="1" smtClean="0">
                <a:latin typeface="+mj-lt"/>
              </a:rPr>
              <a:t>Docker</a:t>
            </a:r>
            <a:r>
              <a:rPr lang="en-US" sz="4400" dirty="0" smtClean="0">
                <a:latin typeface="+mj-lt"/>
              </a:rPr>
              <a:t> image for a LAMP Stack.</a:t>
            </a:r>
            <a:endParaRPr lang="en-US" sz="4400" dirty="0">
              <a:latin typeface="+mj-lt"/>
            </a:endParaRPr>
          </a:p>
        </p:txBody>
      </p:sp>
    </p:spTree>
    <p:extLst>
      <p:ext uri="{BB962C8B-B14F-4D97-AF65-F5344CB8AC3E}">
        <p14:creationId xmlns:p14="http://schemas.microsoft.com/office/powerpoint/2010/main" val="21882371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smtClean="0"/>
              <a:t>But wait, there’s more!</a:t>
            </a:r>
            <a:endParaRPr lang="en-US" sz="8800" dirty="0"/>
          </a:p>
        </p:txBody>
      </p:sp>
    </p:spTree>
    <p:extLst>
      <p:ext uri="{BB962C8B-B14F-4D97-AF65-F5344CB8AC3E}">
        <p14:creationId xmlns:p14="http://schemas.microsoft.com/office/powerpoint/2010/main" val="1187218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3995" y="135822"/>
            <a:ext cx="10986231" cy="825787"/>
          </a:xfr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sp>
        <p:nvSpPr>
          <p:cNvPr id="156" name="Rectangle 155"/>
          <p:cNvSpPr/>
          <p:nvPr/>
        </p:nvSpPr>
        <p:spPr>
          <a:xfrm>
            <a:off x="6914688" y="4257185"/>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2094" y="4343059"/>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50859" y="1664314"/>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uthentication</a:t>
                  </a:r>
                </a:p>
              </p:txBody>
            </p:sp>
            <p:pic>
              <p:nvPicPr>
                <p:cNvPr id="20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5024" y="2959432"/>
            <a:ext cx="7157296" cy="968283"/>
            <a:chOff x="253436" y="3565828"/>
            <a:chExt cx="7157296"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88603"/>
              <a:chOff x="971070" y="3609563"/>
              <a:chExt cx="6439662" cy="788603"/>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Bus</a:t>
                  </a:r>
                </a:p>
              </p:txBody>
            </p:sp>
            <p:pic>
              <p:nvPicPr>
                <p:cNvPr id="196" name="Picture 8"/>
                <p:cNvPicPr>
                  <a:picLocks noChangeAspect="1"/>
                </p:cNvPicPr>
                <p:nvPr/>
              </p:nvPicPr>
              <p:blipFill>
                <a:blip r:embed="rId5">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6">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Services</a:t>
                  </a:r>
                </a:p>
              </p:txBody>
            </p:sp>
            <p:pic>
              <p:nvPicPr>
                <p:cNvPr id="203" name="Picture 2"/>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Manager</a:t>
                  </a:r>
                </a:p>
              </p:txBody>
            </p:sp>
            <p:pic>
              <p:nvPicPr>
                <p:cNvPr id="204" name="Picture 26"/>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Networks</a:t>
                  </a:r>
                </a:p>
              </p:txBody>
            </p:sp>
            <p:pic>
              <p:nvPicPr>
                <p:cNvPr id="205" name="Picture 17"/>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80717"/>
                <a:chOff x="6440376" y="3609253"/>
                <a:chExt cx="970356" cy="780717"/>
              </a:xfrm>
            </p:grpSpPr>
            <p:sp>
              <p:nvSpPr>
                <p:cNvPr id="172" name="Rectangle 171"/>
                <p:cNvSpPr/>
                <p:nvPr/>
              </p:nvSpPr>
              <p:spPr>
                <a:xfrm>
                  <a:off x="6440376" y="3613349"/>
                  <a:ext cx="970356" cy="77662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Route</a:t>
                  </a:r>
                </a:p>
              </p:txBody>
            </p:sp>
            <p:pic>
              <p:nvPicPr>
                <p:cNvPr id="206" name="Picture 1"/>
                <p:cNvPicPr>
                  <a:picLocks noChangeAspect="1"/>
                </p:cNvPicPr>
                <p:nvPr/>
              </p:nvPicPr>
              <p:blipFill>
                <a:blip r:embed="rId10" cstate="print">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5024" y="4067047"/>
            <a:ext cx="10555080" cy="949052"/>
            <a:chOff x="253436" y="4673444"/>
            <a:chExt cx="10555080" cy="949052"/>
          </a:xfrm>
          <a:solidFill>
            <a:srgbClr val="0075C9"/>
          </a:solidFill>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a:grpFill/>
          </p:grpSpPr>
          <p:grpSp>
            <p:nvGrpSpPr>
              <p:cNvPr id="215" name="Group 214"/>
              <p:cNvGrpSpPr/>
              <p:nvPr/>
            </p:nvGrpSpPr>
            <p:grpSpPr>
              <a:xfrm>
                <a:off x="962247" y="4732622"/>
                <a:ext cx="988002" cy="777240"/>
                <a:chOff x="962247" y="4703208"/>
                <a:chExt cx="988002" cy="750431"/>
              </a:xfrm>
              <a:grpFill/>
            </p:grpSpPr>
            <p:sp>
              <p:nvSpPr>
                <p:cNvPr id="124" name="Rectangle 123"/>
                <p:cNvSpPr/>
                <p:nvPr/>
              </p:nvSpPr>
              <p:spPr>
                <a:xfrm>
                  <a:off x="962247" y="4703208"/>
                  <a:ext cx="988002"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PI Mgmt</a:t>
                  </a:r>
                </a:p>
              </p:txBody>
            </p:sp>
            <p:pic>
              <p:nvPicPr>
                <p:cNvPr id="125" name="Picture 12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a:grpFill/>
              </p:spPr>
            </p:pic>
          </p:grpSp>
          <p:grpSp>
            <p:nvGrpSpPr>
              <p:cNvPr id="213" name="Group 212"/>
              <p:cNvGrpSpPr/>
              <p:nvPr/>
            </p:nvGrpSpPr>
            <p:grpSpPr>
              <a:xfrm>
                <a:off x="3185125" y="4732622"/>
                <a:ext cx="970746" cy="777240"/>
                <a:chOff x="3175957" y="4703208"/>
                <a:chExt cx="970746" cy="750431"/>
              </a:xfrm>
              <a:grpFill/>
            </p:grpSpPr>
            <p:sp>
              <p:nvSpPr>
                <p:cNvPr id="51" name="Rectangle 50"/>
                <p:cNvSpPr/>
                <p:nvPr/>
              </p:nvSpPr>
              <p:spPr>
                <a:xfrm>
                  <a:off x="3175957" y="4703208"/>
                  <a:ext cx="970746"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Websites</a:t>
                  </a:r>
                </a:p>
              </p:txBody>
            </p:sp>
            <p:pic>
              <p:nvPicPr>
                <p:cNvPr id="144" name="Picture 11"/>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a:grpFill/>
            </p:grpSpPr>
            <p:sp>
              <p:nvSpPr>
                <p:cNvPr id="52" name="Rectangle 51"/>
                <p:cNvSpPr/>
                <p:nvPr/>
              </p:nvSpPr>
              <p:spPr>
                <a:xfrm>
                  <a:off x="4405052" y="4777097"/>
                  <a:ext cx="988002"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ervices</a:t>
                  </a:r>
                </a:p>
              </p:txBody>
            </p:sp>
            <p:pic>
              <p:nvPicPr>
                <p:cNvPr id="149" name="Picture 20"/>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a:grpFill/>
            </p:grpSpPr>
            <p:sp>
              <p:nvSpPr>
                <p:cNvPr id="53" name="Rectangle 52"/>
                <p:cNvSpPr/>
                <p:nvPr/>
              </p:nvSpPr>
              <p:spPr>
                <a:xfrm>
                  <a:off x="5497654" y="4777098"/>
                  <a:ext cx="970746" cy="7504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5987463" y="4820389"/>
                  <a:ext cx="442896" cy="4053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a:grpFill/>
            </p:grpSpPr>
            <p:sp>
              <p:nvSpPr>
                <p:cNvPr id="49" name="Rectangle 48"/>
                <p:cNvSpPr/>
                <p:nvPr/>
              </p:nvSpPr>
              <p:spPr>
                <a:xfrm>
                  <a:off x="2068435" y="4688149"/>
                  <a:ext cx="1015690"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obile Services</a:t>
                  </a:r>
                </a:p>
              </p:txBody>
            </p:sp>
            <p:pic>
              <p:nvPicPr>
                <p:cNvPr id="171" name="Picture 73"/>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a:grpFill/>
            </p:grpSpPr>
            <p:sp>
              <p:nvSpPr>
                <p:cNvPr id="143" name="Rectangle 142"/>
                <p:cNvSpPr/>
                <p:nvPr/>
              </p:nvSpPr>
              <p:spPr>
                <a:xfrm>
                  <a:off x="6840274" y="4771966"/>
                  <a:ext cx="1030563"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Services</a:t>
                  </a:r>
                </a:p>
              </p:txBody>
            </p:sp>
            <p:pic>
              <p:nvPicPr>
                <p:cNvPr id="198" name="Picture 14"/>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a:grpFill/>
            </p:grpSpPr>
            <p:sp>
              <p:nvSpPr>
                <p:cNvPr id="148" name="Rectangle 147"/>
                <p:cNvSpPr/>
                <p:nvPr/>
              </p:nvSpPr>
              <p:spPr>
                <a:xfrm>
                  <a:off x="7972092" y="4771966"/>
                  <a:ext cx="1030563"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Hubs</a:t>
                  </a:r>
                </a:p>
              </p:txBody>
            </p:sp>
            <p:pic>
              <p:nvPicPr>
                <p:cNvPr id="199" name="Picture 13"/>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a:grpFill/>
            </p:grpSpPr>
            <p:sp>
              <p:nvSpPr>
                <p:cNvPr id="54" name="Rectangle 53"/>
                <p:cNvSpPr/>
                <p:nvPr/>
              </p:nvSpPr>
              <p:spPr>
                <a:xfrm>
                  <a:off x="9109052" y="4771966"/>
                  <a:ext cx="987605"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a:grpFill/>
            </p:grpSpPr>
            <p:sp>
              <p:nvSpPr>
                <p:cNvPr id="152" name="Rectangle 151"/>
                <p:cNvSpPr/>
                <p:nvPr/>
              </p:nvSpPr>
              <p:spPr>
                <a:xfrm>
                  <a:off x="10224547" y="4771966"/>
                  <a:ext cx="987605"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269071" y="5155430"/>
            <a:ext cx="10549581" cy="1019635"/>
            <a:chOff x="896471" y="5136203"/>
            <a:chExt cx="10549581" cy="1019635"/>
          </a:xfrm>
        </p:grpSpPr>
        <p:grpSp>
          <p:nvGrpSpPr>
            <p:cNvPr id="108" name="Group 107"/>
            <p:cNvGrpSpPr/>
            <p:nvPr/>
          </p:nvGrpSpPr>
          <p:grpSpPr>
            <a:xfrm>
              <a:off x="896471" y="5136203"/>
              <a:ext cx="10549581" cy="1019635"/>
              <a:chOff x="894883" y="5742599"/>
              <a:chExt cx="10549581" cy="1019635"/>
            </a:xfrm>
          </p:grpSpPr>
          <p:sp>
            <p:nvSpPr>
              <p:cNvPr id="123" name="TextBox 122"/>
              <p:cNvSpPr txBox="1"/>
              <p:nvPr/>
            </p:nvSpPr>
            <p:spPr>
              <a:xfrm rot="16200000">
                <a:off x="515836" y="6121646"/>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1617406" y="5889512"/>
                <a:ext cx="3154896" cy="751724"/>
                <a:chOff x="1491479" y="5889512"/>
                <a:chExt cx="3150465" cy="751724"/>
              </a:xfrm>
            </p:grpSpPr>
            <p:grpSp>
              <p:nvGrpSpPr>
                <p:cNvPr id="31" name="Group 30"/>
                <p:cNvGrpSpPr/>
                <p:nvPr/>
              </p:nvGrpSpPr>
              <p:grpSpPr>
                <a:xfrm>
                  <a:off x="1491479" y="5889512"/>
                  <a:ext cx="987605" cy="750431"/>
                  <a:chOff x="1803104" y="5889512"/>
                  <a:chExt cx="987605" cy="750431"/>
                </a:xfrm>
              </p:grpSpPr>
              <p:sp>
                <p:nvSpPr>
                  <p:cNvPr id="59" name="Rectangle 58"/>
                  <p:cNvSpPr/>
                  <p:nvPr/>
                </p:nvSpPr>
                <p:spPr>
                  <a:xfrm>
                    <a:off x="1803104" y="5889512"/>
                    <a:ext cx="987605"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2286962"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59897" y="5889512"/>
                  <a:ext cx="1004290" cy="750431"/>
                  <a:chOff x="2913076" y="5889512"/>
                  <a:chExt cx="1004290" cy="750431"/>
                </a:xfrm>
              </p:grpSpPr>
              <p:sp>
                <p:nvSpPr>
                  <p:cNvPr id="60" name="Rectangle 59"/>
                  <p:cNvSpPr/>
                  <p:nvPr/>
                </p:nvSpPr>
                <p:spPr>
                  <a:xfrm>
                    <a:off x="2913076" y="5889512"/>
                    <a:ext cx="987552"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512967"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1" name="Group 80"/>
              <p:cNvGrpSpPr/>
              <p:nvPr/>
            </p:nvGrpSpPr>
            <p:grpSpPr>
              <a:xfrm>
                <a:off x="4879286" y="5885846"/>
                <a:ext cx="6565178" cy="760816"/>
                <a:chOff x="4902404" y="5885642"/>
                <a:chExt cx="6565178" cy="760816"/>
              </a:xfrm>
            </p:grpSpPr>
            <p:sp>
              <p:nvSpPr>
                <p:cNvPr id="126" name="Rectangle 125"/>
                <p:cNvSpPr/>
                <p:nvPr/>
              </p:nvSpPr>
              <p:spPr>
                <a:xfrm>
                  <a:off x="5978270" y="5896027"/>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achine Learning</a:t>
                  </a:r>
                </a:p>
              </p:txBody>
            </p:sp>
            <p:grpSp>
              <p:nvGrpSpPr>
                <p:cNvPr id="26" name="Group 25"/>
                <p:cNvGrpSpPr/>
                <p:nvPr/>
              </p:nvGrpSpPr>
              <p:grpSpPr>
                <a:xfrm>
                  <a:off x="7130912" y="5896027"/>
                  <a:ext cx="970356" cy="750431"/>
                  <a:chOff x="8211357" y="5901190"/>
                  <a:chExt cx="970356" cy="750431"/>
                </a:xfrm>
              </p:grpSpPr>
              <p:sp>
                <p:nvSpPr>
                  <p:cNvPr id="55" name="Rectangle 54"/>
                  <p:cNvSpPr/>
                  <p:nvPr/>
                </p:nvSpPr>
                <p:spPr>
                  <a:xfrm>
                    <a:off x="8211357" y="5901190"/>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Insight</a:t>
                    </a:r>
                  </a:p>
                </p:txBody>
              </p:sp>
              <p:pic>
                <p:nvPicPr>
                  <p:cNvPr id="192" name="Picture 2"/>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8714504"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399015" y="5885642"/>
                  <a:ext cx="970356" cy="750431"/>
                  <a:chOff x="10499912" y="5901190"/>
                  <a:chExt cx="970356" cy="750431"/>
                </a:xfrm>
              </p:grpSpPr>
              <p:sp>
                <p:nvSpPr>
                  <p:cNvPr id="57" name="Rectangle 56"/>
                  <p:cNvSpPr/>
                  <p:nvPr/>
                </p:nvSpPr>
                <p:spPr>
                  <a:xfrm>
                    <a:off x="10499912" y="5901190"/>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Recovery</a:t>
                    </a:r>
                  </a:p>
                </p:txBody>
              </p:sp>
              <p:pic>
                <p:nvPicPr>
                  <p:cNvPr id="193" name="Picture 14"/>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11074501"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4902404" y="5896027"/>
                  <a:ext cx="970356" cy="750431"/>
                  <a:chOff x="5962397" y="5901190"/>
                  <a:chExt cx="970356" cy="750431"/>
                </a:xfrm>
              </p:grpSpPr>
              <p:sp>
                <p:nvSpPr>
                  <p:cNvPr id="167" name="Rectangle 166"/>
                  <p:cNvSpPr/>
                  <p:nvPr/>
                </p:nvSpPr>
                <p:spPr>
                  <a:xfrm>
                    <a:off x="5962397" y="5901190"/>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Database</a:t>
                    </a:r>
                  </a:p>
                </p:txBody>
              </p:sp>
              <p:pic>
                <p:nvPicPr>
                  <p:cNvPr id="194" name="Picture 3"/>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6516990"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261782" y="5896027"/>
                  <a:ext cx="987605" cy="750431"/>
                  <a:chOff x="9352453" y="5901190"/>
                  <a:chExt cx="987605" cy="750431"/>
                </a:xfrm>
              </p:grpSpPr>
              <p:sp>
                <p:nvSpPr>
                  <p:cNvPr id="62" name="Rectangle 61"/>
                  <p:cNvSpPr/>
                  <p:nvPr/>
                </p:nvSpPr>
                <p:spPr>
                  <a:xfrm>
                    <a:off x="9352453" y="5901190"/>
                    <a:ext cx="987605"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9955426"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497226" y="5885642"/>
                  <a:ext cx="970356" cy="750431"/>
                  <a:chOff x="10497226" y="5885642"/>
                  <a:chExt cx="970356" cy="750431"/>
                </a:xfrm>
              </p:grpSpPr>
              <p:sp>
                <p:nvSpPr>
                  <p:cNvPr id="210" name="Rectangle 209"/>
                  <p:cNvSpPr/>
                  <p:nvPr/>
                </p:nvSpPr>
                <p:spPr>
                  <a:xfrm>
                    <a:off x="10497226" y="5885642"/>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10943863"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pic>
          <p:nvPicPr>
            <p:cNvPr id="129" name="Picture 128"/>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558283" y="5342332"/>
              <a:ext cx="334308" cy="323860"/>
            </a:xfrm>
            <a:prstGeom prst="rect">
              <a:avLst/>
            </a:prstGeom>
          </p:spPr>
        </p:pic>
      </p:grpSp>
    </p:spTree>
    <p:extLst>
      <p:ext uri="{BB962C8B-B14F-4D97-AF65-F5344CB8AC3E}">
        <p14:creationId xmlns:p14="http://schemas.microsoft.com/office/powerpoint/2010/main" val="19380709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Machines</a:t>
            </a:r>
            <a:endParaRPr lang="en-US" sz="13800" dirty="0">
              <a:solidFill>
                <a:schemeClr val="bg1"/>
              </a:solidFill>
            </a:endParaRPr>
          </a:p>
        </p:txBody>
      </p:sp>
    </p:spTree>
    <p:extLst>
      <p:ext uri="{BB962C8B-B14F-4D97-AF65-F5344CB8AC3E}">
        <p14:creationId xmlns:p14="http://schemas.microsoft.com/office/powerpoint/2010/main" val="39146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smtClean="0"/>
              <a:t>How to get started</a:t>
            </a:r>
            <a:endParaRPr lang="en-US" sz="8800" dirty="0"/>
          </a:p>
        </p:txBody>
      </p:sp>
    </p:spTree>
    <p:extLst>
      <p:ext uri="{BB962C8B-B14F-4D97-AF65-F5344CB8AC3E}">
        <p14:creationId xmlns:p14="http://schemas.microsoft.com/office/powerpoint/2010/main" val="6360599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587" y="1"/>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7353"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7943"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9123414" y="129338"/>
            <a:ext cx="2775838" cy="4134755"/>
            <a:chOff x="3719625" y="-351356"/>
            <a:chExt cx="2775838" cy="4134755"/>
          </a:xfrm>
        </p:grpSpPr>
        <p:pic>
          <p:nvPicPr>
            <p:cNvPr id="7" name="Picture 6"/>
            <p:cNvPicPr>
              <a:picLocks noChangeAspect="1"/>
            </p:cNvPicPr>
            <p:nvPr/>
          </p:nvPicPr>
          <p:blipFill>
            <a:blip r:embed="rId3"/>
            <a:stretch>
              <a:fillRect/>
            </a:stretch>
          </p:blipFill>
          <p:spPr>
            <a:xfrm>
              <a:off x="3719625" y="-351356"/>
              <a:ext cx="2775838" cy="4134755"/>
            </a:xfrm>
            <a:prstGeom prst="rect">
              <a:avLst/>
            </a:prstGeom>
          </p:spPr>
        </p:pic>
        <p:pic>
          <p:nvPicPr>
            <p:cNvPr id="8" name="Picture 7"/>
            <p:cNvPicPr>
              <a:picLocks noChangeAspect="1"/>
            </p:cNvPicPr>
            <p:nvPr/>
          </p:nvPicPr>
          <p:blipFill>
            <a:blip r:embed="rId4"/>
            <a:stretch>
              <a:fillRect/>
            </a:stretch>
          </p:blipFill>
          <p:spPr>
            <a:xfrm>
              <a:off x="4484016" y="1290841"/>
              <a:ext cx="979669" cy="1295431"/>
            </a:xfrm>
            <a:prstGeom prst="rect">
              <a:avLst/>
            </a:prstGeom>
          </p:spPr>
        </p:pic>
      </p:grpSp>
      <p:sp>
        <p:nvSpPr>
          <p:cNvPr id="9" name="Content Placeholder 4"/>
          <p:cNvSpPr txBox="1">
            <a:spLocks/>
          </p:cNvSpPr>
          <p:nvPr/>
        </p:nvSpPr>
        <p:spPr>
          <a:xfrm>
            <a:off x="560798" y="1482812"/>
            <a:ext cx="11079822" cy="441973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dirty="0" smtClean="0">
              <a:solidFill>
                <a:srgbClr val="0070C0"/>
              </a:solidFill>
            </a:endParaRPr>
          </a:p>
          <a:p>
            <a:pPr marL="0" indent="0">
              <a:buNone/>
            </a:pPr>
            <a:endParaRPr lang="en-US" dirty="0">
              <a:solidFill>
                <a:srgbClr val="0070C0"/>
              </a:solidFill>
            </a:endParaRPr>
          </a:p>
          <a:p>
            <a:pPr marL="0" indent="0">
              <a:buNone/>
            </a:pPr>
            <a:r>
              <a:rPr lang="en-US" b="1" dirty="0" smtClean="0">
                <a:solidFill>
                  <a:srgbClr val="0070C0"/>
                </a:solidFill>
              </a:rPr>
              <a:t>Try </a:t>
            </a:r>
            <a:r>
              <a:rPr lang="en-US" dirty="0" smtClean="0">
                <a:solidFill>
                  <a:srgbClr val="0070C0"/>
                </a:solidFill>
              </a:rPr>
              <a:t>$200 Azure Trial		aka.ms/</a:t>
            </a:r>
            <a:r>
              <a:rPr lang="en-US" dirty="0" err="1" smtClean="0">
                <a:solidFill>
                  <a:srgbClr val="0070C0"/>
                </a:solidFill>
              </a:rPr>
              <a:t>azuretrial</a:t>
            </a:r>
            <a:endParaRPr lang="en-US" dirty="0" smtClean="0">
              <a:solidFill>
                <a:srgbClr val="0070C0"/>
              </a:solidFill>
            </a:endParaRPr>
          </a:p>
          <a:p>
            <a:pPr marL="0" indent="0">
              <a:buNone/>
            </a:pPr>
            <a:r>
              <a:rPr lang="en-US" b="1" dirty="0" smtClean="0">
                <a:solidFill>
                  <a:srgbClr val="0070C0"/>
                </a:solidFill>
              </a:rPr>
              <a:t>Read </a:t>
            </a:r>
            <a:r>
              <a:rPr lang="en-US" dirty="0" smtClean="0">
                <a:solidFill>
                  <a:srgbClr val="0070C0"/>
                </a:solidFill>
              </a:rPr>
              <a:t>documentation 		azure.com</a:t>
            </a:r>
          </a:p>
          <a:p>
            <a:pPr marL="0" indent="0">
              <a:buNone/>
            </a:pPr>
            <a:r>
              <a:rPr lang="en-US" b="1" dirty="0" smtClean="0">
                <a:solidFill>
                  <a:srgbClr val="0070C0"/>
                </a:solidFill>
              </a:rPr>
              <a:t>Watch </a:t>
            </a:r>
            <a:r>
              <a:rPr lang="en-US" dirty="0" smtClean="0">
                <a:solidFill>
                  <a:srgbClr val="0070C0"/>
                </a:solidFill>
              </a:rPr>
              <a:t>10 minute videos	friday.azure.com</a:t>
            </a:r>
          </a:p>
          <a:p>
            <a:pPr marL="0" indent="0">
              <a:buNone/>
            </a:pPr>
            <a:r>
              <a:rPr lang="en-US" b="1" dirty="0" smtClean="0">
                <a:solidFill>
                  <a:srgbClr val="0070C0"/>
                </a:solidFill>
              </a:rPr>
              <a:t>Train </a:t>
            </a:r>
            <a:r>
              <a:rPr lang="en-US" dirty="0" smtClean="0">
                <a:solidFill>
                  <a:srgbClr val="0070C0"/>
                </a:solidFill>
              </a:rPr>
              <a:t>Virtual Academy		aka.ms/</a:t>
            </a:r>
            <a:r>
              <a:rPr lang="en-US" dirty="0" err="1" smtClean="0">
                <a:solidFill>
                  <a:srgbClr val="0070C0"/>
                </a:solidFill>
              </a:rPr>
              <a:t>cloudmva</a:t>
            </a:r>
            <a:endParaRPr lang="en-US" dirty="0">
              <a:solidFill>
                <a:srgbClr val="0070C0"/>
              </a:solidFill>
            </a:endParaRPr>
          </a:p>
        </p:txBody>
      </p:sp>
    </p:spTree>
    <p:extLst>
      <p:ext uri="{BB962C8B-B14F-4D97-AF65-F5344CB8AC3E}">
        <p14:creationId xmlns:p14="http://schemas.microsoft.com/office/powerpoint/2010/main" val="1168149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smtClean="0"/>
              <a:t>Startups</a:t>
            </a:r>
            <a:endParaRPr lang="en-US" sz="8800" dirty="0"/>
          </a:p>
        </p:txBody>
      </p:sp>
    </p:spTree>
    <p:extLst>
      <p:ext uri="{BB962C8B-B14F-4D97-AF65-F5344CB8AC3E}">
        <p14:creationId xmlns:p14="http://schemas.microsoft.com/office/powerpoint/2010/main" val="3522148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47931" y="3957341"/>
            <a:ext cx="6377797" cy="2930230"/>
          </a:xfrm>
          <a:prstGeom prst="rect">
            <a:avLst/>
          </a:prstGeom>
        </p:spPr>
      </p:pic>
      <p:sp>
        <p:nvSpPr>
          <p:cNvPr id="5" name="Title 4"/>
          <p:cNvSpPr>
            <a:spLocks noGrp="1"/>
          </p:cNvSpPr>
          <p:nvPr>
            <p:ph type="title"/>
          </p:nvPr>
        </p:nvSpPr>
        <p:spPr>
          <a:noFill/>
        </p:spPr>
        <p:txBody>
          <a:bodyPr/>
          <a:lstStyle/>
          <a:p>
            <a:r>
              <a:rPr lang="en-US" dirty="0" smtClean="0">
                <a:solidFill>
                  <a:schemeClr val="tx1"/>
                </a:solidFill>
              </a:rPr>
              <a:t>             BizSpark</a:t>
            </a:r>
            <a:endParaRPr lang="en-US" dirty="0">
              <a:solidFill>
                <a:schemeClr val="tx1"/>
              </a:solidFill>
            </a:endParaRPr>
          </a:p>
        </p:txBody>
      </p:sp>
      <p:pic>
        <p:nvPicPr>
          <p:cNvPr id="2" name="Picture 1"/>
          <p:cNvPicPr>
            <a:picLocks noChangeAspect="1"/>
          </p:cNvPicPr>
          <p:nvPr/>
        </p:nvPicPr>
        <p:blipFill>
          <a:blip r:embed="rId4">
            <a:biLevel thresh="50000"/>
            <a:extLst>
              <a:ext uri="{28A0092B-C50C-407E-A947-70E740481C1C}">
                <a14:useLocalDpi xmlns:a14="http://schemas.microsoft.com/office/drawing/2010/main" val="0"/>
              </a:ext>
            </a:extLst>
          </a:blip>
          <a:stretch>
            <a:fillRect/>
          </a:stretch>
        </p:blipFill>
        <p:spPr>
          <a:xfrm>
            <a:off x="191484" y="1213903"/>
            <a:ext cx="2895851" cy="2743438"/>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59456" y="2872596"/>
            <a:ext cx="4132544" cy="3985404"/>
          </a:xfrm>
          <a:prstGeom prst="rect">
            <a:avLst/>
          </a:prstGeom>
        </p:spPr>
      </p:pic>
    </p:spTree>
    <p:extLst>
      <p:ext uri="{BB962C8B-B14F-4D97-AF65-F5344CB8AC3E}">
        <p14:creationId xmlns:p14="http://schemas.microsoft.com/office/powerpoint/2010/main" val="2657281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solidFill>
                <a:latin typeface="Segoe Pro Display SemiLight" panose="020B0402040204020203" pitchFamily="34" charset="0"/>
              </a:rPr>
              <a:t>BizSpark </a:t>
            </a:r>
            <a:r>
              <a:rPr lang="en-US" dirty="0" smtClean="0">
                <a:solidFill>
                  <a:schemeClr val="bg1"/>
                </a:solidFill>
                <a:latin typeface="Segoe Pro Display Semibold" panose="020B0702040504020203" pitchFamily="34" charset="0"/>
              </a:rPr>
              <a:t>is</a:t>
            </a:r>
            <a:r>
              <a:rPr lang="en-US" dirty="0" smtClean="0">
                <a:solidFill>
                  <a:schemeClr val="bg1"/>
                </a:solidFill>
                <a:latin typeface="Segoe Pro Display SemiLight" panose="020B0402040204020203" pitchFamily="34" charset="0"/>
              </a:rPr>
              <a:t> for tech startups</a:t>
            </a:r>
            <a:endParaRPr lang="en-US" dirty="0">
              <a:solidFill>
                <a:schemeClr val="bg1"/>
              </a:solidFill>
              <a:latin typeface="Segoe Pro Display SemiLight" panose="020B0402040204020203" pitchFamily="34" charset="0"/>
            </a:endParaRPr>
          </a:p>
        </p:txBody>
      </p:sp>
      <p:sp>
        <p:nvSpPr>
          <p:cNvPr id="4" name="Content Placeholder 3"/>
          <p:cNvSpPr>
            <a:spLocks noGrp="1"/>
          </p:cNvSpPr>
          <p:nvPr>
            <p:ph idx="1"/>
          </p:nvPr>
        </p:nvSpPr>
        <p:spPr/>
        <p:txBody>
          <a:bodyPr>
            <a:normAutofit fontScale="92500" lnSpcReduction="10000"/>
          </a:bodyPr>
          <a:lstStyle/>
          <a:p>
            <a:pPr marL="0" indent="0">
              <a:buNone/>
            </a:pPr>
            <a:r>
              <a:rPr lang="en-US" dirty="0" smtClean="0">
                <a:solidFill>
                  <a:schemeClr val="bg1"/>
                </a:solidFill>
              </a:rPr>
              <a:t>Who are developing </a:t>
            </a:r>
            <a:r>
              <a:rPr lang="en-US" b="1" dirty="0" smtClean="0">
                <a:solidFill>
                  <a:schemeClr val="bg1"/>
                </a:solidFill>
              </a:rPr>
              <a:t>software/technology </a:t>
            </a:r>
            <a:r>
              <a:rPr lang="en-US" dirty="0" smtClean="0">
                <a:solidFill>
                  <a:schemeClr val="bg1"/>
                </a:solidFill>
              </a:rPr>
              <a:t>for themselves</a:t>
            </a:r>
          </a:p>
          <a:p>
            <a:pPr marL="0" indent="0">
              <a:buNone/>
            </a:pPr>
            <a:endParaRPr lang="en-US" dirty="0">
              <a:solidFill>
                <a:schemeClr val="bg1"/>
              </a:solidFill>
            </a:endParaRPr>
          </a:p>
          <a:p>
            <a:pPr marL="0" indent="0">
              <a:buNone/>
            </a:pPr>
            <a:r>
              <a:rPr lang="en-US" dirty="0" smtClean="0">
                <a:solidFill>
                  <a:schemeClr val="bg1"/>
                </a:solidFill>
              </a:rPr>
              <a:t>Who are </a:t>
            </a:r>
            <a:r>
              <a:rPr lang="en-US" b="1" dirty="0" smtClean="0">
                <a:solidFill>
                  <a:schemeClr val="bg1"/>
                </a:solidFill>
              </a:rPr>
              <a:t>less than 5 years old</a:t>
            </a:r>
          </a:p>
          <a:p>
            <a:pPr marL="0" indent="0">
              <a:buNone/>
            </a:pPr>
            <a:endParaRPr lang="en-US" dirty="0">
              <a:solidFill>
                <a:schemeClr val="bg1"/>
              </a:solidFill>
            </a:endParaRPr>
          </a:p>
          <a:p>
            <a:pPr marL="0" indent="0">
              <a:buNone/>
            </a:pPr>
            <a:r>
              <a:rPr lang="en-US" dirty="0" smtClean="0">
                <a:solidFill>
                  <a:schemeClr val="bg1"/>
                </a:solidFill>
              </a:rPr>
              <a:t>Who are making </a:t>
            </a:r>
            <a:r>
              <a:rPr lang="en-US" b="1" dirty="0" smtClean="0">
                <a:solidFill>
                  <a:schemeClr val="bg1"/>
                </a:solidFill>
              </a:rPr>
              <a:t>less than one million</a:t>
            </a:r>
            <a:r>
              <a:rPr lang="en-US" dirty="0" smtClean="0">
                <a:solidFill>
                  <a:schemeClr val="bg1"/>
                </a:solidFill>
              </a:rPr>
              <a:t> in revenue annually</a:t>
            </a:r>
          </a:p>
          <a:p>
            <a:pPr marL="0" indent="0">
              <a:buNone/>
            </a:pPr>
            <a:endParaRPr lang="en-US" dirty="0">
              <a:solidFill>
                <a:schemeClr val="bg1"/>
              </a:solidFill>
            </a:endParaRPr>
          </a:p>
          <a:p>
            <a:pPr marL="0" indent="0">
              <a:buNone/>
            </a:pPr>
            <a:r>
              <a:rPr lang="en-US" dirty="0" smtClean="0">
                <a:solidFill>
                  <a:schemeClr val="bg1"/>
                </a:solidFill>
              </a:rPr>
              <a:t>Who are </a:t>
            </a:r>
            <a:r>
              <a:rPr lang="en-US" b="1" dirty="0" smtClean="0">
                <a:solidFill>
                  <a:schemeClr val="bg1"/>
                </a:solidFill>
              </a:rPr>
              <a:t>privately held</a:t>
            </a:r>
            <a:endParaRPr lang="en-US" b="1" dirty="0">
              <a:solidFill>
                <a:schemeClr val="bg1"/>
              </a:solidFill>
            </a:endParaRPr>
          </a:p>
        </p:txBody>
      </p:sp>
    </p:spTree>
    <p:extLst>
      <p:ext uri="{BB962C8B-B14F-4D97-AF65-F5344CB8AC3E}">
        <p14:creationId xmlns:p14="http://schemas.microsoft.com/office/powerpoint/2010/main" val="2454795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solidFill>
                <a:latin typeface="Segoe Pro Display SemiLight" panose="020B0402040204020203" pitchFamily="34" charset="0"/>
              </a:rPr>
              <a:t>BizSpark </a:t>
            </a:r>
            <a:r>
              <a:rPr lang="en-US" b="1" dirty="0" smtClean="0">
                <a:solidFill>
                  <a:schemeClr val="bg1"/>
                </a:solidFill>
                <a:latin typeface="Segoe Pro Display Semibold" panose="020B0702040504020203" pitchFamily="34" charset="0"/>
              </a:rPr>
              <a:t>is not</a:t>
            </a:r>
            <a:r>
              <a:rPr lang="en-US" dirty="0" smtClean="0">
                <a:solidFill>
                  <a:schemeClr val="bg1"/>
                </a:solidFill>
                <a:latin typeface="Segoe Pro Display Semibold" panose="020B0702040504020203" pitchFamily="34" charset="0"/>
              </a:rPr>
              <a:t> </a:t>
            </a:r>
            <a:r>
              <a:rPr lang="en-US" dirty="0" smtClean="0">
                <a:solidFill>
                  <a:schemeClr val="bg1"/>
                </a:solidFill>
                <a:latin typeface="Segoe Pro Display SemiLight" panose="020B0402040204020203" pitchFamily="34" charset="0"/>
              </a:rPr>
              <a:t>for startups</a:t>
            </a:r>
            <a:endParaRPr lang="en-US" dirty="0">
              <a:solidFill>
                <a:schemeClr val="bg1"/>
              </a:solidFill>
              <a:latin typeface="Segoe Pro Display SemiLight" panose="020B0402040204020203" pitchFamily="34" charset="0"/>
            </a:endParaRPr>
          </a:p>
        </p:txBody>
      </p:sp>
      <p:sp>
        <p:nvSpPr>
          <p:cNvPr id="4" name="Content Placeholder 3"/>
          <p:cNvSpPr>
            <a:spLocks noGrp="1"/>
          </p:cNvSpPr>
          <p:nvPr>
            <p:ph idx="1"/>
          </p:nvPr>
        </p:nvSpPr>
        <p:spPr/>
        <p:txBody>
          <a:bodyPr>
            <a:normAutofit/>
          </a:bodyPr>
          <a:lstStyle/>
          <a:p>
            <a:pPr marL="0" indent="0">
              <a:buNone/>
            </a:pPr>
            <a:r>
              <a:rPr lang="en-US" dirty="0" smtClean="0">
                <a:solidFill>
                  <a:schemeClr val="bg1"/>
                </a:solidFill>
              </a:rPr>
              <a:t>Who are consultants</a:t>
            </a:r>
          </a:p>
          <a:p>
            <a:pPr marL="0" indent="0">
              <a:buNone/>
            </a:pPr>
            <a:endParaRPr lang="en-US" b="1" dirty="0">
              <a:solidFill>
                <a:schemeClr val="bg1"/>
              </a:solidFill>
            </a:endParaRPr>
          </a:p>
          <a:p>
            <a:pPr marL="0" indent="0">
              <a:buNone/>
            </a:pPr>
            <a:r>
              <a:rPr lang="en-US" dirty="0" smtClean="0">
                <a:solidFill>
                  <a:schemeClr val="bg1"/>
                </a:solidFill>
              </a:rPr>
              <a:t>Who primarily do contract work</a:t>
            </a:r>
          </a:p>
          <a:p>
            <a:pPr marL="0" indent="0">
              <a:buNone/>
            </a:pPr>
            <a:endParaRPr lang="en-US" dirty="0">
              <a:solidFill>
                <a:schemeClr val="bg1"/>
              </a:solidFill>
            </a:endParaRPr>
          </a:p>
          <a:p>
            <a:pPr marL="0" indent="0">
              <a:buNone/>
            </a:pPr>
            <a:r>
              <a:rPr lang="en-US" dirty="0" smtClean="0">
                <a:solidFill>
                  <a:schemeClr val="bg1"/>
                </a:solidFill>
              </a:rPr>
              <a:t>Who primarily do IT Services</a:t>
            </a:r>
          </a:p>
          <a:p>
            <a:pPr marL="0" indent="0">
              <a:buNone/>
            </a:pPr>
            <a:endParaRPr lang="en-US" dirty="0">
              <a:solidFill>
                <a:schemeClr val="bg1"/>
              </a:solidFill>
            </a:endParaRPr>
          </a:p>
          <a:p>
            <a:pPr marL="0" indent="0">
              <a:buNone/>
            </a:pPr>
            <a:r>
              <a:rPr lang="en-US" dirty="0" smtClean="0">
                <a:solidFill>
                  <a:schemeClr val="bg1"/>
                </a:solidFill>
              </a:rPr>
              <a:t>Who design/build websites</a:t>
            </a:r>
          </a:p>
        </p:txBody>
      </p:sp>
    </p:spTree>
    <p:extLst>
      <p:ext uri="{BB962C8B-B14F-4D97-AF65-F5344CB8AC3E}">
        <p14:creationId xmlns:p14="http://schemas.microsoft.com/office/powerpoint/2010/main" val="3226498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solidFill>
              </a:rPr>
              <a:t>What do BizSpark startups get?</a:t>
            </a:r>
            <a:endParaRPr lang="en-US" dirty="0">
              <a:solidFill>
                <a:schemeClr val="bg1"/>
              </a:solidFill>
            </a:endParaRPr>
          </a:p>
        </p:txBody>
      </p:sp>
      <p:grpSp>
        <p:nvGrpSpPr>
          <p:cNvPr id="14" name="Group 13"/>
          <p:cNvGrpSpPr/>
          <p:nvPr/>
        </p:nvGrpSpPr>
        <p:grpSpPr>
          <a:xfrm>
            <a:off x="1358317" y="2506210"/>
            <a:ext cx="9995483" cy="1828800"/>
            <a:chOff x="1358317" y="2506210"/>
            <a:chExt cx="9995483" cy="182880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8317" y="2734810"/>
              <a:ext cx="2212258" cy="1371600"/>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36048" y="2506210"/>
              <a:ext cx="1824239" cy="1828800"/>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25759" y="2734810"/>
              <a:ext cx="2828041" cy="1371600"/>
            </a:xfrm>
            <a:prstGeom prst="rect">
              <a:avLst/>
            </a:prstGeom>
          </p:spPr>
        </p:pic>
      </p:grpSp>
    </p:spTree>
    <p:extLst>
      <p:ext uri="{BB962C8B-B14F-4D97-AF65-F5344CB8AC3E}">
        <p14:creationId xmlns:p14="http://schemas.microsoft.com/office/powerpoint/2010/main" val="23591004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057092" cy="1325563"/>
          </a:xfrm>
        </p:spPr>
        <p:txBody>
          <a:bodyPr>
            <a:normAutofit fontScale="90000"/>
          </a:bodyPr>
          <a:lstStyle/>
          <a:p>
            <a:r>
              <a:rPr lang="en-US" dirty="0" smtClean="0">
                <a:solidFill>
                  <a:schemeClr val="bg1"/>
                </a:solidFill>
                <a:latin typeface="Segoe Pro Semibold" panose="020B0702040504020203" pitchFamily="34" charset="0"/>
              </a:rPr>
              <a:t>$150/month </a:t>
            </a:r>
            <a:r>
              <a:rPr lang="en-US" dirty="0" smtClean="0">
                <a:solidFill>
                  <a:schemeClr val="bg1"/>
                </a:solidFill>
                <a:latin typeface="Segoe Pro Display SemiLight" panose="020B0402040204020203" pitchFamily="34" charset="0"/>
              </a:rPr>
              <a:t>for 3 years in </a:t>
            </a:r>
            <a:r>
              <a:rPr lang="en-US" dirty="0" smtClean="0">
                <a:solidFill>
                  <a:schemeClr val="bg1"/>
                </a:solidFill>
                <a:latin typeface="Segoe Pro Semibold" panose="020B0702040504020203" pitchFamily="34" charset="0"/>
              </a:rPr>
              <a:t>Azure Credits</a:t>
            </a:r>
            <a:endParaRPr lang="en-US" dirty="0">
              <a:solidFill>
                <a:schemeClr val="bg1"/>
              </a:solidFill>
              <a:latin typeface="Segoe Pro Display SemiLight" panose="020B0402040204020203" pitchFamily="34" charset="0"/>
            </a:endParaRPr>
          </a:p>
        </p:txBody>
      </p:sp>
      <p:sp>
        <p:nvSpPr>
          <p:cNvPr id="3" name="Content Placeholder 2"/>
          <p:cNvSpPr>
            <a:spLocks noGrp="1"/>
          </p:cNvSpPr>
          <p:nvPr>
            <p:ph idx="1"/>
          </p:nvPr>
        </p:nvSpPr>
        <p:spPr>
          <a:xfrm>
            <a:off x="838200" y="1987465"/>
            <a:ext cx="10515600" cy="4351338"/>
          </a:xfrm>
        </p:spPr>
        <p:txBody>
          <a:bodyPr>
            <a:normAutofit fontScale="55000" lnSpcReduction="20000"/>
          </a:bodyPr>
          <a:lstStyle/>
          <a:p>
            <a:pPr marL="0" indent="0">
              <a:buNone/>
            </a:pPr>
            <a:r>
              <a:rPr lang="en-US" dirty="0" smtClean="0">
                <a:solidFill>
                  <a:schemeClr val="bg1"/>
                </a:solidFill>
                <a:latin typeface="Segoe Pro Semibold" panose="020B0702040504020203" pitchFamily="34" charset="0"/>
              </a:rPr>
              <a:t>Virtual Machines</a:t>
            </a:r>
            <a:endParaRPr lang="en-US" dirty="0">
              <a:solidFill>
                <a:schemeClr val="bg1"/>
              </a:solidFill>
              <a:latin typeface="Segoe Pro Semibold" panose="020B0702040504020203" pitchFamily="34" charset="0"/>
            </a:endParaRPr>
          </a:p>
          <a:p>
            <a:pPr marL="0" indent="0">
              <a:buNone/>
            </a:pPr>
            <a:r>
              <a:rPr lang="en-US" dirty="0" smtClean="0">
                <a:solidFill>
                  <a:schemeClr val="bg1"/>
                </a:solidFill>
              </a:rPr>
              <a:t>	Windows &amp; Linux</a:t>
            </a:r>
          </a:p>
          <a:p>
            <a:pPr marL="0" indent="0">
              <a:buNone/>
            </a:pPr>
            <a:endParaRPr lang="en-US" dirty="0" smtClean="0">
              <a:solidFill>
                <a:schemeClr val="bg1"/>
              </a:solidFill>
            </a:endParaRPr>
          </a:p>
          <a:p>
            <a:pPr marL="0" indent="0">
              <a:buNone/>
            </a:pPr>
            <a:r>
              <a:rPr lang="en-US" dirty="0" smtClean="0">
                <a:solidFill>
                  <a:schemeClr val="bg1"/>
                </a:solidFill>
                <a:latin typeface="Segoe Pro Semibold" panose="020B0702040504020203" pitchFamily="34" charset="0"/>
              </a:rPr>
              <a:t>Website &amp; Web Apps</a:t>
            </a:r>
          </a:p>
          <a:p>
            <a:pPr marL="0" indent="0">
              <a:buNone/>
            </a:pPr>
            <a:r>
              <a:rPr lang="en-US" dirty="0">
                <a:solidFill>
                  <a:schemeClr val="bg1"/>
                </a:solidFill>
              </a:rPr>
              <a:t>	</a:t>
            </a:r>
            <a:r>
              <a:rPr lang="en-US" dirty="0" smtClean="0">
                <a:solidFill>
                  <a:schemeClr val="bg1"/>
                </a:solidFill>
              </a:rPr>
              <a:t>.NET, Node.js, PHP, Python &amp; more</a:t>
            </a:r>
          </a:p>
          <a:p>
            <a:pPr marL="0" indent="0">
              <a:buNone/>
            </a:pPr>
            <a:r>
              <a:rPr lang="en-US" dirty="0">
                <a:solidFill>
                  <a:schemeClr val="bg1"/>
                </a:solidFill>
              </a:rPr>
              <a:t>	</a:t>
            </a:r>
            <a:r>
              <a:rPr lang="en-US" dirty="0" smtClean="0">
                <a:solidFill>
                  <a:schemeClr val="bg1"/>
                </a:solidFill>
              </a:rPr>
              <a:t>Publish with Git, GitHub, FTP &amp; more</a:t>
            </a:r>
          </a:p>
          <a:p>
            <a:pPr marL="0" indent="0">
              <a:buNone/>
            </a:pPr>
            <a:endParaRPr lang="en-US" dirty="0">
              <a:solidFill>
                <a:schemeClr val="bg1"/>
              </a:solidFill>
            </a:endParaRPr>
          </a:p>
          <a:p>
            <a:pPr marL="0" indent="0">
              <a:buNone/>
            </a:pPr>
            <a:r>
              <a:rPr lang="en-US" dirty="0" smtClean="0">
                <a:solidFill>
                  <a:schemeClr val="bg1"/>
                </a:solidFill>
                <a:latin typeface="Segoe Pro Semibold" panose="020B0702040504020203" pitchFamily="34" charset="0"/>
              </a:rPr>
              <a:t>Mobile Services </a:t>
            </a:r>
          </a:p>
          <a:p>
            <a:pPr marL="0" indent="0">
              <a:buNone/>
            </a:pPr>
            <a:r>
              <a:rPr lang="en-US" dirty="0">
                <a:solidFill>
                  <a:schemeClr val="bg1"/>
                </a:solidFill>
              </a:rPr>
              <a:t>	</a:t>
            </a:r>
            <a:r>
              <a:rPr lang="en-US" dirty="0" smtClean="0">
                <a:solidFill>
                  <a:schemeClr val="bg1"/>
                </a:solidFill>
              </a:rPr>
              <a:t>Identity, Notifications, Storage &amp; more</a:t>
            </a:r>
          </a:p>
          <a:p>
            <a:pPr marL="0" indent="0">
              <a:buNone/>
            </a:pPr>
            <a:r>
              <a:rPr lang="en-US" dirty="0">
                <a:solidFill>
                  <a:schemeClr val="bg1"/>
                </a:solidFill>
              </a:rPr>
              <a:t>	</a:t>
            </a:r>
            <a:r>
              <a:rPr lang="en-US" dirty="0" smtClean="0">
                <a:solidFill>
                  <a:schemeClr val="bg1"/>
                </a:solidFill>
              </a:rPr>
              <a:t>Windows, </a:t>
            </a:r>
            <a:r>
              <a:rPr lang="en-US" dirty="0" err="1" smtClean="0">
                <a:solidFill>
                  <a:schemeClr val="bg1"/>
                </a:solidFill>
              </a:rPr>
              <a:t>iOS</a:t>
            </a:r>
            <a:r>
              <a:rPr lang="en-US" dirty="0" smtClean="0">
                <a:solidFill>
                  <a:schemeClr val="bg1"/>
                </a:solidFill>
              </a:rPr>
              <a:t>, Android &amp; Web                                                  </a:t>
            </a:r>
          </a:p>
          <a:p>
            <a:pPr marL="0" indent="0">
              <a:buNone/>
            </a:pPr>
            <a:endParaRPr lang="en-US" dirty="0">
              <a:solidFill>
                <a:schemeClr val="bg1"/>
              </a:solidFill>
            </a:endParaRPr>
          </a:p>
          <a:p>
            <a:pPr marL="0" indent="0">
              <a:buNone/>
            </a:pPr>
            <a:r>
              <a:rPr lang="en-US" dirty="0" smtClean="0">
                <a:solidFill>
                  <a:schemeClr val="bg1"/>
                </a:solidFill>
                <a:latin typeface="Segoe Pro Semibold" panose="020B0702040504020203" pitchFamily="34" charset="0"/>
              </a:rPr>
              <a:t>40% Discount on paid usage</a:t>
            </a:r>
          </a:p>
          <a:p>
            <a:pPr marL="0" indent="0">
              <a:buNone/>
            </a:pPr>
            <a:endParaRPr lang="en-US" dirty="0">
              <a:solidFill>
                <a:schemeClr val="bg1"/>
              </a:solidFill>
            </a:endParaRPr>
          </a:p>
        </p:txBody>
      </p:sp>
      <p:grpSp>
        <p:nvGrpSpPr>
          <p:cNvPr id="46" name="Group 45"/>
          <p:cNvGrpSpPr/>
          <p:nvPr/>
        </p:nvGrpSpPr>
        <p:grpSpPr>
          <a:xfrm>
            <a:off x="8370881" y="1987465"/>
            <a:ext cx="3197500" cy="3958256"/>
            <a:chOff x="421697" y="3782404"/>
            <a:chExt cx="3197500" cy="3958256"/>
          </a:xfrm>
        </p:grpSpPr>
        <p:pic>
          <p:nvPicPr>
            <p:cNvPr id="47"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7709" y="6889172"/>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7709" y="3782404"/>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1697" y="5335788"/>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4703" y="3782404"/>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4703" y="5335788"/>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1697" y="3782404"/>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67709" y="5343792"/>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421697" y="6889172"/>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8" descr="C:\Users\Jonahs\Dropbox\Projects SCOTT\MEET Windows Azure\source\Background\tile-icon-media.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94703" y="6889172"/>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06562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smtClean="0">
                <a:solidFill>
                  <a:schemeClr val="bg1"/>
                </a:solidFill>
              </a:rPr>
              <a:t>Free Software &amp; Services for </a:t>
            </a:r>
            <a:r>
              <a:rPr lang="en-US" dirty="0" smtClean="0">
                <a:solidFill>
                  <a:schemeClr val="bg1"/>
                </a:solidFill>
                <a:latin typeface="Segoe Pro Semibold" panose="020B0702040504020203" pitchFamily="34" charset="0"/>
              </a:rPr>
              <a:t>3 years</a:t>
            </a:r>
            <a:endParaRPr lang="en-US" dirty="0">
              <a:solidFill>
                <a:schemeClr val="bg1"/>
              </a:solidFill>
              <a:latin typeface="Segoe Pro Semibold" panose="020B0702040504020203" pitchFamily="34" charset="0"/>
            </a:endParaRPr>
          </a:p>
        </p:txBody>
      </p:sp>
      <p:sp>
        <p:nvSpPr>
          <p:cNvPr id="3" name="Content Placeholder 2"/>
          <p:cNvSpPr>
            <a:spLocks noGrp="1"/>
          </p:cNvSpPr>
          <p:nvPr>
            <p:ph idx="1"/>
          </p:nvPr>
        </p:nvSpPr>
        <p:spPr/>
        <p:txBody>
          <a:bodyPr>
            <a:normAutofit fontScale="92500" lnSpcReduction="10000"/>
          </a:bodyPr>
          <a:lstStyle/>
          <a:p>
            <a:pPr marL="0" indent="0">
              <a:buNone/>
            </a:pPr>
            <a:r>
              <a:rPr lang="en-US" dirty="0" smtClean="0">
                <a:solidFill>
                  <a:schemeClr val="bg1"/>
                </a:solidFill>
                <a:latin typeface="Segoe Pro Semibold" panose="020B0702040504020203" pitchFamily="34" charset="0"/>
              </a:rPr>
              <a:t>MSDN Ultimate Subscriptions</a:t>
            </a:r>
            <a:r>
              <a:rPr lang="en-US" dirty="0" smtClean="0">
                <a:solidFill>
                  <a:schemeClr val="bg1"/>
                </a:solidFill>
              </a:rPr>
              <a:t> (~$13,000 each)</a:t>
            </a:r>
          </a:p>
          <a:p>
            <a:pPr marL="0" indent="0">
              <a:buNone/>
            </a:pPr>
            <a:r>
              <a:rPr lang="en-US" dirty="0" smtClean="0">
                <a:solidFill>
                  <a:schemeClr val="bg1"/>
                </a:solidFill>
              </a:rPr>
              <a:t>	Windows</a:t>
            </a:r>
          </a:p>
          <a:p>
            <a:pPr marL="0" indent="0">
              <a:buNone/>
            </a:pPr>
            <a:r>
              <a:rPr lang="en-US" dirty="0" smtClean="0">
                <a:solidFill>
                  <a:schemeClr val="bg1"/>
                </a:solidFill>
              </a:rPr>
              <a:t>	Visual Studio Ultimate</a:t>
            </a:r>
          </a:p>
          <a:p>
            <a:pPr marL="0" indent="0">
              <a:buNone/>
            </a:pPr>
            <a:r>
              <a:rPr lang="en-US" dirty="0" smtClean="0">
                <a:solidFill>
                  <a:schemeClr val="bg1"/>
                </a:solidFill>
              </a:rPr>
              <a:t>	Office 2013</a:t>
            </a:r>
          </a:p>
          <a:p>
            <a:pPr marL="0" indent="0">
              <a:buNone/>
            </a:pPr>
            <a:r>
              <a:rPr lang="en-US" dirty="0">
                <a:solidFill>
                  <a:schemeClr val="bg1"/>
                </a:solidFill>
              </a:rPr>
              <a:t>	</a:t>
            </a:r>
            <a:r>
              <a:rPr lang="en-US" dirty="0" smtClean="0">
                <a:solidFill>
                  <a:schemeClr val="bg1"/>
                </a:solidFill>
              </a:rPr>
              <a:t>Office 365 Developer Subscription</a:t>
            </a:r>
          </a:p>
          <a:p>
            <a:pPr marL="0" indent="0">
              <a:buNone/>
            </a:pPr>
            <a:r>
              <a:rPr lang="en-US" dirty="0" smtClean="0">
                <a:solidFill>
                  <a:schemeClr val="bg1"/>
                </a:solidFill>
              </a:rPr>
              <a:t>	Visual Studio Online</a:t>
            </a:r>
          </a:p>
          <a:p>
            <a:pPr marL="0" indent="0">
              <a:buNone/>
            </a:pPr>
            <a:r>
              <a:rPr lang="en-US" dirty="0" smtClean="0">
                <a:solidFill>
                  <a:schemeClr val="bg1"/>
                </a:solidFill>
              </a:rPr>
              <a:t>	Developer Store accounts</a:t>
            </a:r>
          </a:p>
          <a:p>
            <a:pPr marL="0" indent="0">
              <a:buNone/>
            </a:pPr>
            <a:r>
              <a:rPr lang="en-US" dirty="0" smtClean="0">
                <a:solidFill>
                  <a:schemeClr val="bg1"/>
                </a:solidFill>
              </a:rPr>
              <a:t>	&amp; more</a:t>
            </a:r>
          </a:p>
        </p:txBody>
      </p:sp>
    </p:spTree>
    <p:extLst>
      <p:ext uri="{BB962C8B-B14F-4D97-AF65-F5344CB8AC3E}">
        <p14:creationId xmlns:p14="http://schemas.microsoft.com/office/powerpoint/2010/main" val="2257478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solidFill>
                  <a:schemeClr val="bg1"/>
                </a:solidFill>
                <a:latin typeface="Segoe Pro Display Semibold" panose="020B0702040504020203" pitchFamily="34" charset="0"/>
              </a:rPr>
              <a:t>BizSpark Plus</a:t>
            </a:r>
            <a:r>
              <a:rPr lang="en-US" b="1" dirty="0" smtClean="0">
                <a:solidFill>
                  <a:schemeClr val="bg1"/>
                </a:solidFill>
              </a:rPr>
              <a:t> (Azure 60k Offer)</a:t>
            </a:r>
            <a:endParaRPr lang="en-US" b="1" dirty="0">
              <a:solidFill>
                <a:schemeClr val="bg1"/>
              </a:solidFill>
              <a:latin typeface="Segoe Pro Semibold" panose="020B0702040504020203" pitchFamily="34" charset="0"/>
            </a:endParaRPr>
          </a:p>
        </p:txBody>
      </p:sp>
      <p:sp>
        <p:nvSpPr>
          <p:cNvPr id="3" name="Content Placeholder 2"/>
          <p:cNvSpPr>
            <a:spLocks noGrp="1"/>
          </p:cNvSpPr>
          <p:nvPr>
            <p:ph idx="1"/>
          </p:nvPr>
        </p:nvSpPr>
        <p:spPr>
          <a:xfrm>
            <a:off x="838199" y="1825625"/>
            <a:ext cx="11118273" cy="4351338"/>
          </a:xfrm>
        </p:spPr>
        <p:txBody>
          <a:bodyPr>
            <a:normAutofit fontScale="77500" lnSpcReduction="20000"/>
          </a:bodyPr>
          <a:lstStyle/>
          <a:p>
            <a:pPr marL="0" indent="0">
              <a:lnSpc>
                <a:spcPct val="160000"/>
              </a:lnSpc>
              <a:buNone/>
            </a:pPr>
            <a:r>
              <a:rPr lang="en-US" dirty="0">
                <a:solidFill>
                  <a:schemeClr val="bg1"/>
                </a:solidFill>
                <a:latin typeface="Segoe UI Semibold" panose="020B0702040204020203" pitchFamily="34" charset="0"/>
                <a:cs typeface="Segoe UI Semibold" panose="020B0702040204020203" pitchFamily="34" charset="0"/>
              </a:rPr>
              <a:t>$5,000/month for one year in Microsoft Azure </a:t>
            </a:r>
            <a:r>
              <a:rPr lang="en-US" dirty="0" smtClean="0">
                <a:solidFill>
                  <a:schemeClr val="bg1"/>
                </a:solidFill>
                <a:latin typeface="Segoe UI Semibold" panose="020B0702040204020203" pitchFamily="34" charset="0"/>
                <a:cs typeface="Segoe UI Semibold" panose="020B0702040204020203" pitchFamily="34" charset="0"/>
              </a:rPr>
              <a:t>credits</a:t>
            </a:r>
          </a:p>
          <a:p>
            <a:pPr marL="0" indent="0">
              <a:lnSpc>
                <a:spcPct val="160000"/>
              </a:lnSpc>
              <a:buNone/>
            </a:pPr>
            <a:r>
              <a:rPr lang="en-US" dirty="0" smtClean="0">
                <a:solidFill>
                  <a:schemeClr val="bg1"/>
                </a:solidFill>
              </a:rPr>
              <a:t>Must be an active BizSpark member</a:t>
            </a:r>
          </a:p>
          <a:p>
            <a:pPr marL="0" indent="0">
              <a:lnSpc>
                <a:spcPct val="160000"/>
              </a:lnSpc>
              <a:buNone/>
            </a:pPr>
            <a:r>
              <a:rPr lang="en-US" dirty="0" smtClean="0">
                <a:solidFill>
                  <a:schemeClr val="bg1"/>
                </a:solidFill>
              </a:rPr>
              <a:t>Must be consuming $500+/month in any cloud (Amazon, Google etc.)</a:t>
            </a:r>
          </a:p>
          <a:p>
            <a:pPr marL="0" indent="0">
              <a:lnSpc>
                <a:spcPct val="160000"/>
              </a:lnSpc>
              <a:buNone/>
            </a:pPr>
            <a:r>
              <a:rPr lang="en-US" dirty="0" smtClean="0">
                <a:solidFill>
                  <a:schemeClr val="bg1"/>
                </a:solidFill>
              </a:rPr>
              <a:t>Must be nominated by partner or Microsoft</a:t>
            </a:r>
          </a:p>
          <a:p>
            <a:pPr marL="0" indent="0">
              <a:lnSpc>
                <a:spcPct val="160000"/>
              </a:lnSpc>
              <a:buNone/>
            </a:pPr>
            <a:r>
              <a:rPr lang="en-US" dirty="0" smtClean="0">
                <a:solidFill>
                  <a:schemeClr val="bg1"/>
                </a:solidFill>
                <a:latin typeface="Segoe Pro Display Semibold" panose="020B0702040504020203" pitchFamily="34" charset="0"/>
              </a:rPr>
              <a:t>Learn more @ </a:t>
            </a:r>
            <a:r>
              <a:rPr lang="en-US" dirty="0" smtClean="0">
                <a:solidFill>
                  <a:schemeClr val="bg1"/>
                </a:solidFill>
              </a:rPr>
              <a:t>aka.ms/azure60k</a:t>
            </a:r>
            <a:endParaRPr lang="en-US" dirty="0">
              <a:solidFill>
                <a:schemeClr val="bg1"/>
              </a:solidFill>
            </a:endParaRPr>
          </a:p>
        </p:txBody>
      </p:sp>
    </p:spTree>
    <p:extLst>
      <p:ext uri="{BB962C8B-B14F-4D97-AF65-F5344CB8AC3E}">
        <p14:creationId xmlns:p14="http://schemas.microsoft.com/office/powerpoint/2010/main" val="20621209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rPr>
              <a:t>Launch </a:t>
            </a:r>
            <a:r>
              <a:rPr lang="en-US" sz="4000" dirty="0">
                <a:solidFill>
                  <a:schemeClr val="bg2"/>
                </a:solidFill>
                <a:latin typeface="+mj-lt"/>
              </a:rPr>
              <a:t>Windows Server and Linux in minutes</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rPr>
              <a:t>Scale </a:t>
            </a:r>
            <a:r>
              <a:rPr lang="en-US" sz="4000" dirty="0">
                <a:solidFill>
                  <a:schemeClr val="bg1"/>
                </a:solidFill>
                <a:latin typeface="+mj-lt"/>
              </a:rPr>
              <a:t>from 1 to 1000s of VM Instanc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ave </a:t>
            </a:r>
            <a:r>
              <a:rPr lang="en-US" sz="4000" dirty="0">
                <a:solidFill>
                  <a:schemeClr val="bg1"/>
                </a:solidFill>
                <a:latin typeface="+mj-lt"/>
                <a:sym typeface="Wingdings" panose="05000000000000000000" pitchFamily="2" charset="2"/>
              </a:rPr>
              <a:t>money with per-minute </a:t>
            </a:r>
            <a:r>
              <a:rPr lang="en-US" sz="4000" dirty="0" smtClean="0">
                <a:solidFill>
                  <a:schemeClr val="bg1"/>
                </a:solidFill>
                <a:latin typeface="+mj-lt"/>
                <a:sym typeface="Wingdings" panose="05000000000000000000" pitchFamily="2" charset="2"/>
              </a:rPr>
              <a:t>billing</a:t>
            </a:r>
          </a:p>
          <a:p>
            <a:r>
              <a:rPr lang="en-US" sz="4000" dirty="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Open and extensible</a:t>
            </a:r>
            <a:endParaRPr lang="en-US" sz="4000" dirty="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solidFill>
                  <a:schemeClr val="bg1"/>
                </a:solidFill>
                <a:latin typeface="Segoe Pro Display SemiLight" panose="020B0402040204020203" pitchFamily="34" charset="0"/>
              </a:rPr>
              <a:t>More developers == more benefits</a:t>
            </a:r>
            <a:endParaRPr lang="en-US" b="1" dirty="0">
              <a:solidFill>
                <a:schemeClr val="bg1"/>
              </a:solidFill>
              <a:latin typeface="Segoe Pro Display SemiLight" panose="020B0402040204020203" pitchFamily="34" charset="0"/>
            </a:endParaRPr>
          </a:p>
        </p:txBody>
      </p:sp>
      <p:grpSp>
        <p:nvGrpSpPr>
          <p:cNvPr id="12" name="Group 11"/>
          <p:cNvGrpSpPr/>
          <p:nvPr/>
        </p:nvGrpSpPr>
        <p:grpSpPr>
          <a:xfrm>
            <a:off x="-207619" y="3177982"/>
            <a:ext cx="2832099" cy="1195566"/>
            <a:chOff x="4546599" y="1879904"/>
            <a:chExt cx="4119186" cy="1738907"/>
          </a:xfrm>
        </p:grpSpPr>
        <p:pic>
          <p:nvPicPr>
            <p:cNvPr id="10" name="Picture 9"/>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109967" y="1879904"/>
              <a:ext cx="992448" cy="992447"/>
            </a:xfrm>
            <a:prstGeom prst="rect">
              <a:avLst/>
            </a:prstGeom>
          </p:spPr>
        </p:pic>
        <p:sp>
          <p:nvSpPr>
            <p:cNvPr id="11" name="TextBox 10"/>
            <p:cNvSpPr txBox="1"/>
            <p:nvPr/>
          </p:nvSpPr>
          <p:spPr>
            <a:xfrm>
              <a:off x="4546599" y="3036866"/>
              <a:ext cx="4119186" cy="5819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Segoe UI Light"/>
                  <a:ea typeface="+mn-ea"/>
                  <a:cs typeface="+mn-cs"/>
                </a:rPr>
                <a:t>BizSpark</a:t>
              </a:r>
              <a:endParaRPr kumimoji="0" lang="en-US" sz="2000" b="0" i="0" u="none" strike="noStrike" kern="1200" cap="none" spc="0" normalizeH="0" baseline="0" noProof="0" dirty="0">
                <a:ln>
                  <a:noFill/>
                </a:ln>
                <a:solidFill>
                  <a:prstClr val="white"/>
                </a:solidFill>
                <a:effectLst/>
                <a:uLnTx/>
                <a:uFillTx/>
                <a:latin typeface="Segoe UI Light"/>
                <a:ea typeface="+mn-ea"/>
                <a:cs typeface="+mn-cs"/>
              </a:endParaRPr>
            </a:p>
          </p:txBody>
        </p:sp>
      </p:grpSp>
      <p:grpSp>
        <p:nvGrpSpPr>
          <p:cNvPr id="98" name="Group 97"/>
          <p:cNvGrpSpPr/>
          <p:nvPr/>
        </p:nvGrpSpPr>
        <p:grpSpPr>
          <a:xfrm>
            <a:off x="3121621" y="4185368"/>
            <a:ext cx="1828800" cy="1125495"/>
            <a:chOff x="3121621" y="4169542"/>
            <a:chExt cx="1828800" cy="1125495"/>
          </a:xfrm>
        </p:grpSpPr>
        <p:grpSp>
          <p:nvGrpSpPr>
            <p:cNvPr id="67" name="Group 66"/>
            <p:cNvGrpSpPr/>
            <p:nvPr/>
          </p:nvGrpSpPr>
          <p:grpSpPr>
            <a:xfrm>
              <a:off x="3879844" y="4169542"/>
              <a:ext cx="312355" cy="698269"/>
              <a:chOff x="3924954" y="4169542"/>
              <a:chExt cx="312355" cy="698269"/>
            </a:xfrm>
          </p:grpSpPr>
          <p:sp>
            <p:nvSpPr>
              <p:cNvPr id="33" name="Freeform 48"/>
              <p:cNvSpPr>
                <a:spLocks noChangeAspect="1"/>
              </p:cNvSpPr>
              <p:nvPr/>
            </p:nvSpPr>
            <p:spPr bwMode="black">
              <a:xfrm flipH="1">
                <a:off x="4013080" y="4169542"/>
                <a:ext cx="224229" cy="613609"/>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367657 w 4740335"/>
                  <a:gd name="connsiteY44" fmla="*/ 0 h 4048081"/>
                  <a:gd name="connsiteX45" fmla="*/ 2819118 w 4740335"/>
                  <a:gd name="connsiteY45" fmla="*/ 453969 h 4048081"/>
                  <a:gd name="connsiteX46" fmla="*/ 2367657 w 4740335"/>
                  <a:gd name="connsiteY46" fmla="*/ 907938 h 4048081"/>
                  <a:gd name="connsiteX47" fmla="*/ 1916196 w 4740335"/>
                  <a:gd name="connsiteY47" fmla="*/ 453969 h 4048081"/>
                  <a:gd name="connsiteX48" fmla="*/ 2367657 w 4740335"/>
                  <a:gd name="connsiteY48"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2367657 w 4740335"/>
                  <a:gd name="connsiteY43" fmla="*/ 0 h 4048081"/>
                  <a:gd name="connsiteX44" fmla="*/ 2819118 w 4740335"/>
                  <a:gd name="connsiteY44" fmla="*/ 453969 h 4048081"/>
                  <a:gd name="connsiteX45" fmla="*/ 2367657 w 4740335"/>
                  <a:gd name="connsiteY45" fmla="*/ 907938 h 4048081"/>
                  <a:gd name="connsiteX46" fmla="*/ 1916196 w 4740335"/>
                  <a:gd name="connsiteY46" fmla="*/ 453969 h 4048081"/>
                  <a:gd name="connsiteX47" fmla="*/ 2367657 w 4740335"/>
                  <a:gd name="connsiteY47" fmla="*/ 0 h 4048081"/>
                  <a:gd name="connsiteX0" fmla="*/ 3779109 w 4835830"/>
                  <a:gd name="connsiteY0" fmla="*/ 1098549 h 4048081"/>
                  <a:gd name="connsiteX1" fmla="*/ 4598365 w 4835830"/>
                  <a:gd name="connsiteY1" fmla="*/ 1098549 h 4048081"/>
                  <a:gd name="connsiteX2" fmla="*/ 4835830 w 4835830"/>
                  <a:gd name="connsiteY2" fmla="*/ 1335514 h 4048081"/>
                  <a:gd name="connsiteX3" fmla="*/ 4835830 w 4835830"/>
                  <a:gd name="connsiteY3" fmla="*/ 2449249 h 4048081"/>
                  <a:gd name="connsiteX4" fmla="*/ 4598365 w 4835830"/>
                  <a:gd name="connsiteY4" fmla="*/ 2686214 h 4048081"/>
                  <a:gd name="connsiteX5" fmla="*/ 4598365 w 4835830"/>
                  <a:gd name="connsiteY5" fmla="*/ 3480046 h 4048081"/>
                  <a:gd name="connsiteX6" fmla="*/ 4360900 w 4835830"/>
                  <a:gd name="connsiteY6" fmla="*/ 3717011 h 4048081"/>
                  <a:gd name="connsiteX7" fmla="*/ 4004701 w 4835830"/>
                  <a:gd name="connsiteY7" fmla="*/ 3717011 h 4048081"/>
                  <a:gd name="connsiteX8" fmla="*/ 3779109 w 4835830"/>
                  <a:gd name="connsiteY8" fmla="*/ 3480046 h 4048081"/>
                  <a:gd name="connsiteX9" fmla="*/ 3779109 w 4835830"/>
                  <a:gd name="connsiteY9" fmla="*/ 2686214 h 4048081"/>
                  <a:gd name="connsiteX10" fmla="*/ 3541643 w 4835830"/>
                  <a:gd name="connsiteY10" fmla="*/ 2449249 h 4048081"/>
                  <a:gd name="connsiteX11" fmla="*/ 3541643 w 4835830"/>
                  <a:gd name="connsiteY11" fmla="*/ 1335514 h 4048081"/>
                  <a:gd name="connsiteX12" fmla="*/ 3779109 w 4835830"/>
                  <a:gd name="connsiteY12" fmla="*/ 1098549 h 4048081"/>
                  <a:gd name="connsiteX13" fmla="*/ 95495 w 4835830"/>
                  <a:gd name="connsiteY13" fmla="*/ 1335514 h 4048081"/>
                  <a:gd name="connsiteX14" fmla="*/ 1384669 w 4835830"/>
                  <a:gd name="connsiteY14" fmla="*/ 1335514 h 4048081"/>
                  <a:gd name="connsiteX15" fmla="*/ 1384669 w 4835830"/>
                  <a:gd name="connsiteY15" fmla="*/ 2449249 h 4048081"/>
                  <a:gd name="connsiteX16" fmla="*/ 1148123 w 4835830"/>
                  <a:gd name="connsiteY16" fmla="*/ 2686214 h 4048081"/>
                  <a:gd name="connsiteX17" fmla="*/ 1148123 w 4835830"/>
                  <a:gd name="connsiteY17" fmla="*/ 3480046 h 4048081"/>
                  <a:gd name="connsiteX18" fmla="*/ 923405 w 4835830"/>
                  <a:gd name="connsiteY18" fmla="*/ 3717011 h 4048081"/>
                  <a:gd name="connsiteX19" fmla="*/ 568586 w 4835830"/>
                  <a:gd name="connsiteY19" fmla="*/ 3717011 h 4048081"/>
                  <a:gd name="connsiteX20" fmla="*/ 332041 w 4835830"/>
                  <a:gd name="connsiteY20" fmla="*/ 3480046 h 4048081"/>
                  <a:gd name="connsiteX21" fmla="*/ 332041 w 4835830"/>
                  <a:gd name="connsiteY21" fmla="*/ 2686214 h 4048081"/>
                  <a:gd name="connsiteX22" fmla="*/ 95495 w 4835830"/>
                  <a:gd name="connsiteY22" fmla="*/ 2449249 h 4048081"/>
                  <a:gd name="connsiteX23" fmla="*/ 95495 w 4835830"/>
                  <a:gd name="connsiteY23" fmla="*/ 1335514 h 4048081"/>
                  <a:gd name="connsiteX24" fmla="*/ 1990689 w 4835830"/>
                  <a:gd name="connsiteY24" fmla="*/ 993211 h 4048081"/>
                  <a:gd name="connsiteX25" fmla="*/ 2940636 w 4835830"/>
                  <a:gd name="connsiteY25" fmla="*/ 993211 h 4048081"/>
                  <a:gd name="connsiteX26" fmla="*/ 3225620 w 4835830"/>
                  <a:gd name="connsiteY26" fmla="*/ 1277385 h 4048081"/>
                  <a:gd name="connsiteX27" fmla="*/ 3225620 w 4835830"/>
                  <a:gd name="connsiteY27" fmla="*/ 2568008 h 4048081"/>
                  <a:gd name="connsiteX28" fmla="*/ 2940636 w 4835830"/>
                  <a:gd name="connsiteY28" fmla="*/ 2852182 h 4048081"/>
                  <a:gd name="connsiteX29" fmla="*/ 2940636 w 4835830"/>
                  <a:gd name="connsiteY29" fmla="*/ 3763907 h 4048081"/>
                  <a:gd name="connsiteX30" fmla="*/ 2667526 w 4835830"/>
                  <a:gd name="connsiteY30" fmla="*/ 4048081 h 4048081"/>
                  <a:gd name="connsiteX31" fmla="*/ 2263799 w 4835830"/>
                  <a:gd name="connsiteY31" fmla="*/ 4048081 h 4048081"/>
                  <a:gd name="connsiteX32" fmla="*/ 1990689 w 4835830"/>
                  <a:gd name="connsiteY32" fmla="*/ 3763907 h 4048081"/>
                  <a:gd name="connsiteX33" fmla="*/ 1990689 w 4835830"/>
                  <a:gd name="connsiteY33" fmla="*/ 2852182 h 4048081"/>
                  <a:gd name="connsiteX34" fmla="*/ 1705705 w 4835830"/>
                  <a:gd name="connsiteY34" fmla="*/ 2568008 h 4048081"/>
                  <a:gd name="connsiteX35" fmla="*/ 1705705 w 4835830"/>
                  <a:gd name="connsiteY35" fmla="*/ 1277385 h 4048081"/>
                  <a:gd name="connsiteX36" fmla="*/ 1990689 w 4835830"/>
                  <a:gd name="connsiteY36" fmla="*/ 993211 h 4048081"/>
                  <a:gd name="connsiteX37" fmla="*/ 4188741 w 4835830"/>
                  <a:gd name="connsiteY37" fmla="*/ 245790 h 4048081"/>
                  <a:gd name="connsiteX38" fmla="*/ 4574990 w 4835830"/>
                  <a:gd name="connsiteY38" fmla="*/ 637055 h 4048081"/>
                  <a:gd name="connsiteX39" fmla="*/ 4188741 w 4835830"/>
                  <a:gd name="connsiteY39" fmla="*/ 1028320 h 4048081"/>
                  <a:gd name="connsiteX40" fmla="*/ 3802492 w 4835830"/>
                  <a:gd name="connsiteY40" fmla="*/ 637055 h 4048081"/>
                  <a:gd name="connsiteX41" fmla="*/ 4188741 w 4835830"/>
                  <a:gd name="connsiteY41" fmla="*/ 245790 h 4048081"/>
                  <a:gd name="connsiteX42" fmla="*/ 2463152 w 4835830"/>
                  <a:gd name="connsiteY42" fmla="*/ 0 h 4048081"/>
                  <a:gd name="connsiteX43" fmla="*/ 2914613 w 4835830"/>
                  <a:gd name="connsiteY43" fmla="*/ 453969 h 4048081"/>
                  <a:gd name="connsiteX44" fmla="*/ 2463152 w 4835830"/>
                  <a:gd name="connsiteY44" fmla="*/ 907938 h 4048081"/>
                  <a:gd name="connsiteX45" fmla="*/ 2011691 w 4835830"/>
                  <a:gd name="connsiteY45" fmla="*/ 453969 h 4048081"/>
                  <a:gd name="connsiteX46" fmla="*/ 2463152 w 4835830"/>
                  <a:gd name="connsiteY46"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1335514 h 4048081"/>
                  <a:gd name="connsiteX15" fmla="*/ 1345079 w 4796240"/>
                  <a:gd name="connsiteY15" fmla="*/ 2449249 h 4048081"/>
                  <a:gd name="connsiteX16" fmla="*/ 1108533 w 4796240"/>
                  <a:gd name="connsiteY16" fmla="*/ 2686214 h 4048081"/>
                  <a:gd name="connsiteX17" fmla="*/ 1108533 w 4796240"/>
                  <a:gd name="connsiteY17" fmla="*/ 3480046 h 4048081"/>
                  <a:gd name="connsiteX18" fmla="*/ 883815 w 4796240"/>
                  <a:gd name="connsiteY18" fmla="*/ 3717011 h 4048081"/>
                  <a:gd name="connsiteX19" fmla="*/ 528996 w 4796240"/>
                  <a:gd name="connsiteY19" fmla="*/ 3717011 h 4048081"/>
                  <a:gd name="connsiteX20" fmla="*/ 292451 w 4796240"/>
                  <a:gd name="connsiteY20" fmla="*/ 3480046 h 4048081"/>
                  <a:gd name="connsiteX21" fmla="*/ 292451 w 4796240"/>
                  <a:gd name="connsiteY21" fmla="*/ 2686214 h 4048081"/>
                  <a:gd name="connsiteX22" fmla="*/ 55905 w 4796240"/>
                  <a:gd name="connsiteY22" fmla="*/ 2449249 h 4048081"/>
                  <a:gd name="connsiteX23" fmla="*/ 1951099 w 4796240"/>
                  <a:gd name="connsiteY23" fmla="*/ 993211 h 4048081"/>
                  <a:gd name="connsiteX24" fmla="*/ 2901046 w 4796240"/>
                  <a:gd name="connsiteY24" fmla="*/ 993211 h 4048081"/>
                  <a:gd name="connsiteX25" fmla="*/ 3186030 w 4796240"/>
                  <a:gd name="connsiteY25" fmla="*/ 1277385 h 4048081"/>
                  <a:gd name="connsiteX26" fmla="*/ 3186030 w 4796240"/>
                  <a:gd name="connsiteY26" fmla="*/ 2568008 h 4048081"/>
                  <a:gd name="connsiteX27" fmla="*/ 2901046 w 4796240"/>
                  <a:gd name="connsiteY27" fmla="*/ 2852182 h 4048081"/>
                  <a:gd name="connsiteX28" fmla="*/ 2901046 w 4796240"/>
                  <a:gd name="connsiteY28" fmla="*/ 3763907 h 4048081"/>
                  <a:gd name="connsiteX29" fmla="*/ 2627936 w 4796240"/>
                  <a:gd name="connsiteY29" fmla="*/ 4048081 h 4048081"/>
                  <a:gd name="connsiteX30" fmla="*/ 2224209 w 4796240"/>
                  <a:gd name="connsiteY30" fmla="*/ 4048081 h 4048081"/>
                  <a:gd name="connsiteX31" fmla="*/ 1951099 w 4796240"/>
                  <a:gd name="connsiteY31" fmla="*/ 3763907 h 4048081"/>
                  <a:gd name="connsiteX32" fmla="*/ 1951099 w 4796240"/>
                  <a:gd name="connsiteY32" fmla="*/ 2852182 h 4048081"/>
                  <a:gd name="connsiteX33" fmla="*/ 1666115 w 4796240"/>
                  <a:gd name="connsiteY33" fmla="*/ 2568008 h 4048081"/>
                  <a:gd name="connsiteX34" fmla="*/ 1666115 w 4796240"/>
                  <a:gd name="connsiteY34" fmla="*/ 1277385 h 4048081"/>
                  <a:gd name="connsiteX35" fmla="*/ 1951099 w 4796240"/>
                  <a:gd name="connsiteY35" fmla="*/ 993211 h 4048081"/>
                  <a:gd name="connsiteX36" fmla="*/ 4149151 w 4796240"/>
                  <a:gd name="connsiteY36" fmla="*/ 245790 h 4048081"/>
                  <a:gd name="connsiteX37" fmla="*/ 4535400 w 4796240"/>
                  <a:gd name="connsiteY37" fmla="*/ 637055 h 4048081"/>
                  <a:gd name="connsiteX38" fmla="*/ 4149151 w 4796240"/>
                  <a:gd name="connsiteY38" fmla="*/ 1028320 h 4048081"/>
                  <a:gd name="connsiteX39" fmla="*/ 3762902 w 4796240"/>
                  <a:gd name="connsiteY39" fmla="*/ 637055 h 4048081"/>
                  <a:gd name="connsiteX40" fmla="*/ 4149151 w 4796240"/>
                  <a:gd name="connsiteY40" fmla="*/ 245790 h 4048081"/>
                  <a:gd name="connsiteX41" fmla="*/ 2423562 w 4796240"/>
                  <a:gd name="connsiteY41" fmla="*/ 0 h 4048081"/>
                  <a:gd name="connsiteX42" fmla="*/ 2875023 w 4796240"/>
                  <a:gd name="connsiteY42" fmla="*/ 453969 h 4048081"/>
                  <a:gd name="connsiteX43" fmla="*/ 2423562 w 4796240"/>
                  <a:gd name="connsiteY43" fmla="*/ 907938 h 4048081"/>
                  <a:gd name="connsiteX44" fmla="*/ 1972101 w 4796240"/>
                  <a:gd name="connsiteY44" fmla="*/ 453969 h 4048081"/>
                  <a:gd name="connsiteX45" fmla="*/ 2423562 w 4796240"/>
                  <a:gd name="connsiteY45"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2449249 h 4048081"/>
                  <a:gd name="connsiteX15" fmla="*/ 1108533 w 4796240"/>
                  <a:gd name="connsiteY15" fmla="*/ 2686214 h 4048081"/>
                  <a:gd name="connsiteX16" fmla="*/ 1108533 w 4796240"/>
                  <a:gd name="connsiteY16" fmla="*/ 3480046 h 4048081"/>
                  <a:gd name="connsiteX17" fmla="*/ 883815 w 4796240"/>
                  <a:gd name="connsiteY17" fmla="*/ 3717011 h 4048081"/>
                  <a:gd name="connsiteX18" fmla="*/ 528996 w 4796240"/>
                  <a:gd name="connsiteY18" fmla="*/ 3717011 h 4048081"/>
                  <a:gd name="connsiteX19" fmla="*/ 292451 w 4796240"/>
                  <a:gd name="connsiteY19" fmla="*/ 3480046 h 4048081"/>
                  <a:gd name="connsiteX20" fmla="*/ 292451 w 4796240"/>
                  <a:gd name="connsiteY20" fmla="*/ 2686214 h 4048081"/>
                  <a:gd name="connsiteX21" fmla="*/ 55905 w 4796240"/>
                  <a:gd name="connsiteY21" fmla="*/ 2449249 h 4048081"/>
                  <a:gd name="connsiteX22" fmla="*/ 1951099 w 4796240"/>
                  <a:gd name="connsiteY22" fmla="*/ 993211 h 4048081"/>
                  <a:gd name="connsiteX23" fmla="*/ 2901046 w 4796240"/>
                  <a:gd name="connsiteY23" fmla="*/ 993211 h 4048081"/>
                  <a:gd name="connsiteX24" fmla="*/ 3186030 w 4796240"/>
                  <a:gd name="connsiteY24" fmla="*/ 1277385 h 4048081"/>
                  <a:gd name="connsiteX25" fmla="*/ 3186030 w 4796240"/>
                  <a:gd name="connsiteY25" fmla="*/ 2568008 h 4048081"/>
                  <a:gd name="connsiteX26" fmla="*/ 2901046 w 4796240"/>
                  <a:gd name="connsiteY26" fmla="*/ 2852182 h 4048081"/>
                  <a:gd name="connsiteX27" fmla="*/ 2901046 w 4796240"/>
                  <a:gd name="connsiteY27" fmla="*/ 3763907 h 4048081"/>
                  <a:gd name="connsiteX28" fmla="*/ 2627936 w 4796240"/>
                  <a:gd name="connsiteY28" fmla="*/ 4048081 h 4048081"/>
                  <a:gd name="connsiteX29" fmla="*/ 2224209 w 4796240"/>
                  <a:gd name="connsiteY29" fmla="*/ 4048081 h 4048081"/>
                  <a:gd name="connsiteX30" fmla="*/ 1951099 w 4796240"/>
                  <a:gd name="connsiteY30" fmla="*/ 3763907 h 4048081"/>
                  <a:gd name="connsiteX31" fmla="*/ 1951099 w 4796240"/>
                  <a:gd name="connsiteY31" fmla="*/ 2852182 h 4048081"/>
                  <a:gd name="connsiteX32" fmla="*/ 1666115 w 4796240"/>
                  <a:gd name="connsiteY32" fmla="*/ 2568008 h 4048081"/>
                  <a:gd name="connsiteX33" fmla="*/ 1666115 w 4796240"/>
                  <a:gd name="connsiteY33" fmla="*/ 1277385 h 4048081"/>
                  <a:gd name="connsiteX34" fmla="*/ 1951099 w 4796240"/>
                  <a:gd name="connsiteY34" fmla="*/ 993211 h 4048081"/>
                  <a:gd name="connsiteX35" fmla="*/ 4149151 w 4796240"/>
                  <a:gd name="connsiteY35" fmla="*/ 245790 h 4048081"/>
                  <a:gd name="connsiteX36" fmla="*/ 4535400 w 4796240"/>
                  <a:gd name="connsiteY36" fmla="*/ 637055 h 4048081"/>
                  <a:gd name="connsiteX37" fmla="*/ 4149151 w 4796240"/>
                  <a:gd name="connsiteY37" fmla="*/ 1028320 h 4048081"/>
                  <a:gd name="connsiteX38" fmla="*/ 3762902 w 4796240"/>
                  <a:gd name="connsiteY38" fmla="*/ 637055 h 4048081"/>
                  <a:gd name="connsiteX39" fmla="*/ 4149151 w 4796240"/>
                  <a:gd name="connsiteY39" fmla="*/ 245790 h 4048081"/>
                  <a:gd name="connsiteX40" fmla="*/ 2423562 w 4796240"/>
                  <a:gd name="connsiteY40" fmla="*/ 0 h 4048081"/>
                  <a:gd name="connsiteX41" fmla="*/ 2875023 w 4796240"/>
                  <a:gd name="connsiteY41" fmla="*/ 453969 h 4048081"/>
                  <a:gd name="connsiteX42" fmla="*/ 2423562 w 4796240"/>
                  <a:gd name="connsiteY42" fmla="*/ 907938 h 4048081"/>
                  <a:gd name="connsiteX43" fmla="*/ 1972101 w 4796240"/>
                  <a:gd name="connsiteY43" fmla="*/ 453969 h 4048081"/>
                  <a:gd name="connsiteX44" fmla="*/ 2423562 w 4796240"/>
                  <a:gd name="connsiteY44"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49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49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50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50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447069 w 4503790"/>
                  <a:gd name="connsiteY0" fmla="*/ 1098549 h 4048081"/>
                  <a:gd name="connsiteX1" fmla="*/ 4266325 w 4503790"/>
                  <a:gd name="connsiteY1" fmla="*/ 1098549 h 4048081"/>
                  <a:gd name="connsiteX2" fmla="*/ 4503790 w 4503790"/>
                  <a:gd name="connsiteY2" fmla="*/ 1335514 h 4048081"/>
                  <a:gd name="connsiteX3" fmla="*/ 4503790 w 4503790"/>
                  <a:gd name="connsiteY3" fmla="*/ 2449249 h 4048081"/>
                  <a:gd name="connsiteX4" fmla="*/ 4266325 w 4503790"/>
                  <a:gd name="connsiteY4" fmla="*/ 2686214 h 4048081"/>
                  <a:gd name="connsiteX5" fmla="*/ 4266325 w 4503790"/>
                  <a:gd name="connsiteY5" fmla="*/ 3480046 h 4048081"/>
                  <a:gd name="connsiteX6" fmla="*/ 4028860 w 4503790"/>
                  <a:gd name="connsiteY6" fmla="*/ 3717011 h 4048081"/>
                  <a:gd name="connsiteX7" fmla="*/ 3672661 w 4503790"/>
                  <a:gd name="connsiteY7" fmla="*/ 3717011 h 4048081"/>
                  <a:gd name="connsiteX8" fmla="*/ 3447069 w 4503790"/>
                  <a:gd name="connsiteY8" fmla="*/ 3480046 h 4048081"/>
                  <a:gd name="connsiteX9" fmla="*/ 3447069 w 4503790"/>
                  <a:gd name="connsiteY9" fmla="*/ 2686214 h 4048081"/>
                  <a:gd name="connsiteX10" fmla="*/ 3209603 w 4503790"/>
                  <a:gd name="connsiteY10" fmla="*/ 2449249 h 4048081"/>
                  <a:gd name="connsiteX11" fmla="*/ 3209603 w 4503790"/>
                  <a:gd name="connsiteY11" fmla="*/ 1335514 h 4048081"/>
                  <a:gd name="connsiteX12" fmla="*/ 3447069 w 4503790"/>
                  <a:gd name="connsiteY12" fmla="*/ 1098549 h 4048081"/>
                  <a:gd name="connsiteX13" fmla="*/ 1 w 4503790"/>
                  <a:gd name="connsiteY13" fmla="*/ 2686214 h 4048081"/>
                  <a:gd name="connsiteX14" fmla="*/ 816083 w 4503790"/>
                  <a:gd name="connsiteY14" fmla="*/ 2686214 h 4048081"/>
                  <a:gd name="connsiteX15" fmla="*/ 816083 w 4503790"/>
                  <a:gd name="connsiteY15" fmla="*/ 3480046 h 4048081"/>
                  <a:gd name="connsiteX16" fmla="*/ 591365 w 4503790"/>
                  <a:gd name="connsiteY16" fmla="*/ 3717011 h 4048081"/>
                  <a:gd name="connsiteX17" fmla="*/ 236546 w 4503790"/>
                  <a:gd name="connsiteY17" fmla="*/ 3717011 h 4048081"/>
                  <a:gd name="connsiteX18" fmla="*/ 1 w 4503790"/>
                  <a:gd name="connsiteY18" fmla="*/ 3480046 h 4048081"/>
                  <a:gd name="connsiteX19" fmla="*/ 1 w 4503790"/>
                  <a:gd name="connsiteY19" fmla="*/ 2686214 h 4048081"/>
                  <a:gd name="connsiteX20" fmla="*/ 1658649 w 4503790"/>
                  <a:gd name="connsiteY20" fmla="*/ 993211 h 4048081"/>
                  <a:gd name="connsiteX21" fmla="*/ 2608596 w 4503790"/>
                  <a:gd name="connsiteY21" fmla="*/ 993211 h 4048081"/>
                  <a:gd name="connsiteX22" fmla="*/ 2893580 w 4503790"/>
                  <a:gd name="connsiteY22" fmla="*/ 1277385 h 4048081"/>
                  <a:gd name="connsiteX23" fmla="*/ 2893580 w 4503790"/>
                  <a:gd name="connsiteY23" fmla="*/ 2568008 h 4048081"/>
                  <a:gd name="connsiteX24" fmla="*/ 2608596 w 4503790"/>
                  <a:gd name="connsiteY24" fmla="*/ 2852182 h 4048081"/>
                  <a:gd name="connsiteX25" fmla="*/ 2608596 w 4503790"/>
                  <a:gd name="connsiteY25" fmla="*/ 3763907 h 4048081"/>
                  <a:gd name="connsiteX26" fmla="*/ 2335486 w 4503790"/>
                  <a:gd name="connsiteY26" fmla="*/ 4048081 h 4048081"/>
                  <a:gd name="connsiteX27" fmla="*/ 1931759 w 4503790"/>
                  <a:gd name="connsiteY27" fmla="*/ 4048081 h 4048081"/>
                  <a:gd name="connsiteX28" fmla="*/ 1658649 w 4503790"/>
                  <a:gd name="connsiteY28" fmla="*/ 3763907 h 4048081"/>
                  <a:gd name="connsiteX29" fmla="*/ 1658649 w 4503790"/>
                  <a:gd name="connsiteY29" fmla="*/ 2852182 h 4048081"/>
                  <a:gd name="connsiteX30" fmla="*/ 1373665 w 4503790"/>
                  <a:gd name="connsiteY30" fmla="*/ 2568008 h 4048081"/>
                  <a:gd name="connsiteX31" fmla="*/ 1373665 w 4503790"/>
                  <a:gd name="connsiteY31" fmla="*/ 1277385 h 4048081"/>
                  <a:gd name="connsiteX32" fmla="*/ 1658649 w 4503790"/>
                  <a:gd name="connsiteY32" fmla="*/ 993211 h 4048081"/>
                  <a:gd name="connsiteX33" fmla="*/ 3856701 w 4503790"/>
                  <a:gd name="connsiteY33" fmla="*/ 245790 h 4048081"/>
                  <a:gd name="connsiteX34" fmla="*/ 4242950 w 4503790"/>
                  <a:gd name="connsiteY34" fmla="*/ 637055 h 4048081"/>
                  <a:gd name="connsiteX35" fmla="*/ 3856701 w 4503790"/>
                  <a:gd name="connsiteY35" fmla="*/ 1028320 h 4048081"/>
                  <a:gd name="connsiteX36" fmla="*/ 3470452 w 4503790"/>
                  <a:gd name="connsiteY36" fmla="*/ 637055 h 4048081"/>
                  <a:gd name="connsiteX37" fmla="*/ 3856701 w 4503790"/>
                  <a:gd name="connsiteY37" fmla="*/ 245790 h 4048081"/>
                  <a:gd name="connsiteX38" fmla="*/ 2131112 w 4503790"/>
                  <a:gd name="connsiteY38" fmla="*/ 0 h 4048081"/>
                  <a:gd name="connsiteX39" fmla="*/ 2582573 w 4503790"/>
                  <a:gd name="connsiteY39" fmla="*/ 453969 h 4048081"/>
                  <a:gd name="connsiteX40" fmla="*/ 2131112 w 4503790"/>
                  <a:gd name="connsiteY40" fmla="*/ 907938 h 4048081"/>
                  <a:gd name="connsiteX41" fmla="*/ 1679651 w 4503790"/>
                  <a:gd name="connsiteY41" fmla="*/ 453969 h 4048081"/>
                  <a:gd name="connsiteX42" fmla="*/ 2131112 w 4503790"/>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72277 w 4528998"/>
                  <a:gd name="connsiteY0" fmla="*/ 1098549 h 4048081"/>
                  <a:gd name="connsiteX1" fmla="*/ 4291533 w 4528998"/>
                  <a:gd name="connsiteY1" fmla="*/ 1098549 h 4048081"/>
                  <a:gd name="connsiteX2" fmla="*/ 4528998 w 4528998"/>
                  <a:gd name="connsiteY2" fmla="*/ 1335514 h 4048081"/>
                  <a:gd name="connsiteX3" fmla="*/ 4528998 w 4528998"/>
                  <a:gd name="connsiteY3" fmla="*/ 2449249 h 4048081"/>
                  <a:gd name="connsiteX4" fmla="*/ 4291533 w 4528998"/>
                  <a:gd name="connsiteY4" fmla="*/ 2686214 h 4048081"/>
                  <a:gd name="connsiteX5" fmla="*/ 4291533 w 4528998"/>
                  <a:gd name="connsiteY5" fmla="*/ 3480046 h 4048081"/>
                  <a:gd name="connsiteX6" fmla="*/ 4054068 w 4528998"/>
                  <a:gd name="connsiteY6" fmla="*/ 3717011 h 4048081"/>
                  <a:gd name="connsiteX7" fmla="*/ 3697869 w 4528998"/>
                  <a:gd name="connsiteY7" fmla="*/ 3717011 h 4048081"/>
                  <a:gd name="connsiteX8" fmla="*/ 3472277 w 4528998"/>
                  <a:gd name="connsiteY8" fmla="*/ 3480046 h 4048081"/>
                  <a:gd name="connsiteX9" fmla="*/ 3472277 w 4528998"/>
                  <a:gd name="connsiteY9" fmla="*/ 2686214 h 4048081"/>
                  <a:gd name="connsiteX10" fmla="*/ 3234811 w 4528998"/>
                  <a:gd name="connsiteY10" fmla="*/ 2449249 h 4048081"/>
                  <a:gd name="connsiteX11" fmla="*/ 3234811 w 4528998"/>
                  <a:gd name="connsiteY11" fmla="*/ 1335514 h 4048081"/>
                  <a:gd name="connsiteX12" fmla="*/ 3472277 w 4528998"/>
                  <a:gd name="connsiteY12" fmla="*/ 1098549 h 4048081"/>
                  <a:gd name="connsiteX13" fmla="*/ 25209 w 4528998"/>
                  <a:gd name="connsiteY13" fmla="*/ 3480046 h 4048081"/>
                  <a:gd name="connsiteX14" fmla="*/ 841291 w 4528998"/>
                  <a:gd name="connsiteY14" fmla="*/ 2686214 h 4048081"/>
                  <a:gd name="connsiteX15" fmla="*/ 841291 w 4528998"/>
                  <a:gd name="connsiteY15" fmla="*/ 3480046 h 4048081"/>
                  <a:gd name="connsiteX16" fmla="*/ 616573 w 4528998"/>
                  <a:gd name="connsiteY16" fmla="*/ 3717011 h 4048081"/>
                  <a:gd name="connsiteX17" fmla="*/ 261754 w 4528998"/>
                  <a:gd name="connsiteY17" fmla="*/ 3717011 h 4048081"/>
                  <a:gd name="connsiteX18" fmla="*/ 25209 w 4528998"/>
                  <a:gd name="connsiteY18" fmla="*/ 3480046 h 4048081"/>
                  <a:gd name="connsiteX19" fmla="*/ 1683857 w 4528998"/>
                  <a:gd name="connsiteY19" fmla="*/ 993211 h 4048081"/>
                  <a:gd name="connsiteX20" fmla="*/ 2633804 w 4528998"/>
                  <a:gd name="connsiteY20" fmla="*/ 993211 h 4048081"/>
                  <a:gd name="connsiteX21" fmla="*/ 2918788 w 4528998"/>
                  <a:gd name="connsiteY21" fmla="*/ 1277385 h 4048081"/>
                  <a:gd name="connsiteX22" fmla="*/ 2918788 w 4528998"/>
                  <a:gd name="connsiteY22" fmla="*/ 2568008 h 4048081"/>
                  <a:gd name="connsiteX23" fmla="*/ 2633804 w 4528998"/>
                  <a:gd name="connsiteY23" fmla="*/ 2852182 h 4048081"/>
                  <a:gd name="connsiteX24" fmla="*/ 2633804 w 4528998"/>
                  <a:gd name="connsiteY24" fmla="*/ 3763907 h 4048081"/>
                  <a:gd name="connsiteX25" fmla="*/ 2360694 w 4528998"/>
                  <a:gd name="connsiteY25" fmla="*/ 4048081 h 4048081"/>
                  <a:gd name="connsiteX26" fmla="*/ 1956967 w 4528998"/>
                  <a:gd name="connsiteY26" fmla="*/ 4048081 h 4048081"/>
                  <a:gd name="connsiteX27" fmla="*/ 1683857 w 4528998"/>
                  <a:gd name="connsiteY27" fmla="*/ 3763907 h 4048081"/>
                  <a:gd name="connsiteX28" fmla="*/ 1683857 w 4528998"/>
                  <a:gd name="connsiteY28" fmla="*/ 2852182 h 4048081"/>
                  <a:gd name="connsiteX29" fmla="*/ 1398873 w 4528998"/>
                  <a:gd name="connsiteY29" fmla="*/ 2568008 h 4048081"/>
                  <a:gd name="connsiteX30" fmla="*/ 1398873 w 4528998"/>
                  <a:gd name="connsiteY30" fmla="*/ 1277385 h 4048081"/>
                  <a:gd name="connsiteX31" fmla="*/ 1683857 w 4528998"/>
                  <a:gd name="connsiteY31" fmla="*/ 993211 h 4048081"/>
                  <a:gd name="connsiteX32" fmla="*/ 3881909 w 4528998"/>
                  <a:gd name="connsiteY32" fmla="*/ 245790 h 4048081"/>
                  <a:gd name="connsiteX33" fmla="*/ 4268158 w 4528998"/>
                  <a:gd name="connsiteY33" fmla="*/ 637055 h 4048081"/>
                  <a:gd name="connsiteX34" fmla="*/ 3881909 w 4528998"/>
                  <a:gd name="connsiteY34" fmla="*/ 1028320 h 4048081"/>
                  <a:gd name="connsiteX35" fmla="*/ 3495660 w 4528998"/>
                  <a:gd name="connsiteY35" fmla="*/ 637055 h 4048081"/>
                  <a:gd name="connsiteX36" fmla="*/ 3881909 w 4528998"/>
                  <a:gd name="connsiteY36" fmla="*/ 245790 h 4048081"/>
                  <a:gd name="connsiteX37" fmla="*/ 2156320 w 4528998"/>
                  <a:gd name="connsiteY37" fmla="*/ 0 h 4048081"/>
                  <a:gd name="connsiteX38" fmla="*/ 2607781 w 4528998"/>
                  <a:gd name="connsiteY38" fmla="*/ 453969 h 4048081"/>
                  <a:gd name="connsiteX39" fmla="*/ 2156320 w 4528998"/>
                  <a:gd name="connsiteY39" fmla="*/ 907938 h 4048081"/>
                  <a:gd name="connsiteX40" fmla="*/ 1704859 w 4528998"/>
                  <a:gd name="connsiteY40" fmla="*/ 453969 h 4048081"/>
                  <a:gd name="connsiteX41" fmla="*/ 2156320 w 4528998"/>
                  <a:gd name="connsiteY41" fmla="*/ 0 h 4048081"/>
                  <a:gd name="connsiteX0" fmla="*/ 3214011 w 4270732"/>
                  <a:gd name="connsiteY0" fmla="*/ 1098549 h 4048081"/>
                  <a:gd name="connsiteX1" fmla="*/ 4033267 w 4270732"/>
                  <a:gd name="connsiteY1" fmla="*/ 1098549 h 4048081"/>
                  <a:gd name="connsiteX2" fmla="*/ 4270732 w 4270732"/>
                  <a:gd name="connsiteY2" fmla="*/ 1335514 h 4048081"/>
                  <a:gd name="connsiteX3" fmla="*/ 4270732 w 4270732"/>
                  <a:gd name="connsiteY3" fmla="*/ 2449249 h 4048081"/>
                  <a:gd name="connsiteX4" fmla="*/ 4033267 w 4270732"/>
                  <a:gd name="connsiteY4" fmla="*/ 2686214 h 4048081"/>
                  <a:gd name="connsiteX5" fmla="*/ 4033267 w 4270732"/>
                  <a:gd name="connsiteY5" fmla="*/ 3480046 h 4048081"/>
                  <a:gd name="connsiteX6" fmla="*/ 3795802 w 4270732"/>
                  <a:gd name="connsiteY6" fmla="*/ 3717011 h 4048081"/>
                  <a:gd name="connsiteX7" fmla="*/ 3439603 w 4270732"/>
                  <a:gd name="connsiteY7" fmla="*/ 3717011 h 4048081"/>
                  <a:gd name="connsiteX8" fmla="*/ 3214011 w 4270732"/>
                  <a:gd name="connsiteY8" fmla="*/ 3480046 h 4048081"/>
                  <a:gd name="connsiteX9" fmla="*/ 3214011 w 4270732"/>
                  <a:gd name="connsiteY9" fmla="*/ 2686214 h 4048081"/>
                  <a:gd name="connsiteX10" fmla="*/ 2976545 w 4270732"/>
                  <a:gd name="connsiteY10" fmla="*/ 2449249 h 4048081"/>
                  <a:gd name="connsiteX11" fmla="*/ 2976545 w 4270732"/>
                  <a:gd name="connsiteY11" fmla="*/ 1335514 h 4048081"/>
                  <a:gd name="connsiteX12" fmla="*/ 3214011 w 4270732"/>
                  <a:gd name="connsiteY12" fmla="*/ 1098549 h 4048081"/>
                  <a:gd name="connsiteX13" fmla="*/ 3488 w 4270732"/>
                  <a:gd name="connsiteY13" fmla="*/ 3717011 h 4048081"/>
                  <a:gd name="connsiteX14" fmla="*/ 583025 w 4270732"/>
                  <a:gd name="connsiteY14" fmla="*/ 2686214 h 4048081"/>
                  <a:gd name="connsiteX15" fmla="*/ 583025 w 4270732"/>
                  <a:gd name="connsiteY15" fmla="*/ 3480046 h 4048081"/>
                  <a:gd name="connsiteX16" fmla="*/ 358307 w 4270732"/>
                  <a:gd name="connsiteY16" fmla="*/ 3717011 h 4048081"/>
                  <a:gd name="connsiteX17" fmla="*/ 3488 w 4270732"/>
                  <a:gd name="connsiteY17" fmla="*/ 3717011 h 4048081"/>
                  <a:gd name="connsiteX18" fmla="*/ 1425591 w 4270732"/>
                  <a:gd name="connsiteY18" fmla="*/ 993211 h 4048081"/>
                  <a:gd name="connsiteX19" fmla="*/ 2375538 w 4270732"/>
                  <a:gd name="connsiteY19" fmla="*/ 993211 h 4048081"/>
                  <a:gd name="connsiteX20" fmla="*/ 2660522 w 4270732"/>
                  <a:gd name="connsiteY20" fmla="*/ 1277385 h 4048081"/>
                  <a:gd name="connsiteX21" fmla="*/ 2660522 w 4270732"/>
                  <a:gd name="connsiteY21" fmla="*/ 2568008 h 4048081"/>
                  <a:gd name="connsiteX22" fmla="*/ 2375538 w 4270732"/>
                  <a:gd name="connsiteY22" fmla="*/ 2852182 h 4048081"/>
                  <a:gd name="connsiteX23" fmla="*/ 2375538 w 4270732"/>
                  <a:gd name="connsiteY23" fmla="*/ 3763907 h 4048081"/>
                  <a:gd name="connsiteX24" fmla="*/ 2102428 w 4270732"/>
                  <a:gd name="connsiteY24" fmla="*/ 4048081 h 4048081"/>
                  <a:gd name="connsiteX25" fmla="*/ 1698701 w 4270732"/>
                  <a:gd name="connsiteY25" fmla="*/ 4048081 h 4048081"/>
                  <a:gd name="connsiteX26" fmla="*/ 1425591 w 4270732"/>
                  <a:gd name="connsiteY26" fmla="*/ 3763907 h 4048081"/>
                  <a:gd name="connsiteX27" fmla="*/ 1425591 w 4270732"/>
                  <a:gd name="connsiteY27" fmla="*/ 2852182 h 4048081"/>
                  <a:gd name="connsiteX28" fmla="*/ 1140607 w 4270732"/>
                  <a:gd name="connsiteY28" fmla="*/ 2568008 h 4048081"/>
                  <a:gd name="connsiteX29" fmla="*/ 1140607 w 4270732"/>
                  <a:gd name="connsiteY29" fmla="*/ 1277385 h 4048081"/>
                  <a:gd name="connsiteX30" fmla="*/ 1425591 w 4270732"/>
                  <a:gd name="connsiteY30" fmla="*/ 993211 h 4048081"/>
                  <a:gd name="connsiteX31" fmla="*/ 3623643 w 4270732"/>
                  <a:gd name="connsiteY31" fmla="*/ 245790 h 4048081"/>
                  <a:gd name="connsiteX32" fmla="*/ 4009892 w 4270732"/>
                  <a:gd name="connsiteY32" fmla="*/ 637055 h 4048081"/>
                  <a:gd name="connsiteX33" fmla="*/ 3623643 w 4270732"/>
                  <a:gd name="connsiteY33" fmla="*/ 1028320 h 4048081"/>
                  <a:gd name="connsiteX34" fmla="*/ 3237394 w 4270732"/>
                  <a:gd name="connsiteY34" fmla="*/ 637055 h 4048081"/>
                  <a:gd name="connsiteX35" fmla="*/ 3623643 w 4270732"/>
                  <a:gd name="connsiteY35" fmla="*/ 245790 h 4048081"/>
                  <a:gd name="connsiteX36" fmla="*/ 1898054 w 4270732"/>
                  <a:gd name="connsiteY36" fmla="*/ 0 h 4048081"/>
                  <a:gd name="connsiteX37" fmla="*/ 2349515 w 4270732"/>
                  <a:gd name="connsiteY37" fmla="*/ 453969 h 4048081"/>
                  <a:gd name="connsiteX38" fmla="*/ 1898054 w 4270732"/>
                  <a:gd name="connsiteY38" fmla="*/ 907938 h 4048081"/>
                  <a:gd name="connsiteX39" fmla="*/ 1446593 w 4270732"/>
                  <a:gd name="connsiteY39" fmla="*/ 453969 h 4048081"/>
                  <a:gd name="connsiteX40" fmla="*/ 1898054 w 4270732"/>
                  <a:gd name="connsiteY40" fmla="*/ 0 h 4048081"/>
                  <a:gd name="connsiteX0" fmla="*/ 2855704 w 3912425"/>
                  <a:gd name="connsiteY0" fmla="*/ 1098549 h 4048081"/>
                  <a:gd name="connsiteX1" fmla="*/ 3674960 w 3912425"/>
                  <a:gd name="connsiteY1" fmla="*/ 1098549 h 4048081"/>
                  <a:gd name="connsiteX2" fmla="*/ 3912425 w 3912425"/>
                  <a:gd name="connsiteY2" fmla="*/ 1335514 h 4048081"/>
                  <a:gd name="connsiteX3" fmla="*/ 3912425 w 3912425"/>
                  <a:gd name="connsiteY3" fmla="*/ 2449249 h 4048081"/>
                  <a:gd name="connsiteX4" fmla="*/ 3674960 w 3912425"/>
                  <a:gd name="connsiteY4" fmla="*/ 2686214 h 4048081"/>
                  <a:gd name="connsiteX5" fmla="*/ 3674960 w 3912425"/>
                  <a:gd name="connsiteY5" fmla="*/ 3480046 h 4048081"/>
                  <a:gd name="connsiteX6" fmla="*/ 3437495 w 3912425"/>
                  <a:gd name="connsiteY6" fmla="*/ 3717011 h 4048081"/>
                  <a:gd name="connsiteX7" fmla="*/ 3081296 w 3912425"/>
                  <a:gd name="connsiteY7" fmla="*/ 3717011 h 4048081"/>
                  <a:gd name="connsiteX8" fmla="*/ 2855704 w 3912425"/>
                  <a:gd name="connsiteY8" fmla="*/ 3480046 h 4048081"/>
                  <a:gd name="connsiteX9" fmla="*/ 2855704 w 3912425"/>
                  <a:gd name="connsiteY9" fmla="*/ 2686214 h 4048081"/>
                  <a:gd name="connsiteX10" fmla="*/ 2618238 w 3912425"/>
                  <a:gd name="connsiteY10" fmla="*/ 2449249 h 4048081"/>
                  <a:gd name="connsiteX11" fmla="*/ 2618238 w 3912425"/>
                  <a:gd name="connsiteY11" fmla="*/ 1335514 h 4048081"/>
                  <a:gd name="connsiteX12" fmla="*/ 2855704 w 3912425"/>
                  <a:gd name="connsiteY12" fmla="*/ 1098549 h 4048081"/>
                  <a:gd name="connsiteX13" fmla="*/ 0 w 3912425"/>
                  <a:gd name="connsiteY13" fmla="*/ 3717011 h 4048081"/>
                  <a:gd name="connsiteX14" fmla="*/ 224718 w 3912425"/>
                  <a:gd name="connsiteY14" fmla="*/ 2686214 h 4048081"/>
                  <a:gd name="connsiteX15" fmla="*/ 224718 w 3912425"/>
                  <a:gd name="connsiteY15" fmla="*/ 3480046 h 4048081"/>
                  <a:gd name="connsiteX16" fmla="*/ 0 w 3912425"/>
                  <a:gd name="connsiteY16" fmla="*/ 3717011 h 4048081"/>
                  <a:gd name="connsiteX17" fmla="*/ 1067284 w 3912425"/>
                  <a:gd name="connsiteY17" fmla="*/ 993211 h 4048081"/>
                  <a:gd name="connsiteX18" fmla="*/ 2017231 w 3912425"/>
                  <a:gd name="connsiteY18" fmla="*/ 993211 h 4048081"/>
                  <a:gd name="connsiteX19" fmla="*/ 2302215 w 3912425"/>
                  <a:gd name="connsiteY19" fmla="*/ 1277385 h 4048081"/>
                  <a:gd name="connsiteX20" fmla="*/ 2302215 w 3912425"/>
                  <a:gd name="connsiteY20" fmla="*/ 2568008 h 4048081"/>
                  <a:gd name="connsiteX21" fmla="*/ 2017231 w 3912425"/>
                  <a:gd name="connsiteY21" fmla="*/ 2852182 h 4048081"/>
                  <a:gd name="connsiteX22" fmla="*/ 2017231 w 3912425"/>
                  <a:gd name="connsiteY22" fmla="*/ 3763907 h 4048081"/>
                  <a:gd name="connsiteX23" fmla="*/ 1744121 w 3912425"/>
                  <a:gd name="connsiteY23" fmla="*/ 4048081 h 4048081"/>
                  <a:gd name="connsiteX24" fmla="*/ 1340394 w 3912425"/>
                  <a:gd name="connsiteY24" fmla="*/ 4048081 h 4048081"/>
                  <a:gd name="connsiteX25" fmla="*/ 1067284 w 3912425"/>
                  <a:gd name="connsiteY25" fmla="*/ 3763907 h 4048081"/>
                  <a:gd name="connsiteX26" fmla="*/ 1067284 w 3912425"/>
                  <a:gd name="connsiteY26" fmla="*/ 2852182 h 4048081"/>
                  <a:gd name="connsiteX27" fmla="*/ 782300 w 3912425"/>
                  <a:gd name="connsiteY27" fmla="*/ 2568008 h 4048081"/>
                  <a:gd name="connsiteX28" fmla="*/ 782300 w 3912425"/>
                  <a:gd name="connsiteY28" fmla="*/ 1277385 h 4048081"/>
                  <a:gd name="connsiteX29" fmla="*/ 1067284 w 3912425"/>
                  <a:gd name="connsiteY29" fmla="*/ 993211 h 4048081"/>
                  <a:gd name="connsiteX30" fmla="*/ 3265336 w 3912425"/>
                  <a:gd name="connsiteY30" fmla="*/ 245790 h 4048081"/>
                  <a:gd name="connsiteX31" fmla="*/ 3651585 w 3912425"/>
                  <a:gd name="connsiteY31" fmla="*/ 637055 h 4048081"/>
                  <a:gd name="connsiteX32" fmla="*/ 3265336 w 3912425"/>
                  <a:gd name="connsiteY32" fmla="*/ 1028320 h 4048081"/>
                  <a:gd name="connsiteX33" fmla="*/ 2879087 w 3912425"/>
                  <a:gd name="connsiteY33" fmla="*/ 637055 h 4048081"/>
                  <a:gd name="connsiteX34" fmla="*/ 3265336 w 3912425"/>
                  <a:gd name="connsiteY34" fmla="*/ 245790 h 4048081"/>
                  <a:gd name="connsiteX35" fmla="*/ 1539747 w 3912425"/>
                  <a:gd name="connsiteY35" fmla="*/ 0 h 4048081"/>
                  <a:gd name="connsiteX36" fmla="*/ 1991208 w 3912425"/>
                  <a:gd name="connsiteY36" fmla="*/ 453969 h 4048081"/>
                  <a:gd name="connsiteX37" fmla="*/ 1539747 w 3912425"/>
                  <a:gd name="connsiteY37" fmla="*/ 907938 h 4048081"/>
                  <a:gd name="connsiteX38" fmla="*/ 1088286 w 3912425"/>
                  <a:gd name="connsiteY38" fmla="*/ 453969 h 4048081"/>
                  <a:gd name="connsiteX39" fmla="*/ 1539747 w 3912425"/>
                  <a:gd name="connsiteY39"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0 w 3687707"/>
                  <a:gd name="connsiteY13" fmla="*/ 3480046 h 4048081"/>
                  <a:gd name="connsiteX14" fmla="*/ 0 w 3687707"/>
                  <a:gd name="connsiteY14" fmla="*/ 2686214 h 4048081"/>
                  <a:gd name="connsiteX15" fmla="*/ 0 w 3687707"/>
                  <a:gd name="connsiteY15" fmla="*/ 3480046 h 4048081"/>
                  <a:gd name="connsiteX16" fmla="*/ 842566 w 3687707"/>
                  <a:gd name="connsiteY16" fmla="*/ 993211 h 4048081"/>
                  <a:gd name="connsiteX17" fmla="*/ 1792513 w 3687707"/>
                  <a:gd name="connsiteY17" fmla="*/ 993211 h 4048081"/>
                  <a:gd name="connsiteX18" fmla="*/ 2077497 w 3687707"/>
                  <a:gd name="connsiteY18" fmla="*/ 1277385 h 4048081"/>
                  <a:gd name="connsiteX19" fmla="*/ 2077497 w 3687707"/>
                  <a:gd name="connsiteY19" fmla="*/ 2568008 h 4048081"/>
                  <a:gd name="connsiteX20" fmla="*/ 1792513 w 3687707"/>
                  <a:gd name="connsiteY20" fmla="*/ 2852182 h 4048081"/>
                  <a:gd name="connsiteX21" fmla="*/ 1792513 w 3687707"/>
                  <a:gd name="connsiteY21" fmla="*/ 3763907 h 4048081"/>
                  <a:gd name="connsiteX22" fmla="*/ 1519403 w 3687707"/>
                  <a:gd name="connsiteY22" fmla="*/ 4048081 h 4048081"/>
                  <a:gd name="connsiteX23" fmla="*/ 1115676 w 3687707"/>
                  <a:gd name="connsiteY23" fmla="*/ 4048081 h 4048081"/>
                  <a:gd name="connsiteX24" fmla="*/ 842566 w 3687707"/>
                  <a:gd name="connsiteY24" fmla="*/ 3763907 h 4048081"/>
                  <a:gd name="connsiteX25" fmla="*/ 842566 w 3687707"/>
                  <a:gd name="connsiteY25" fmla="*/ 2852182 h 4048081"/>
                  <a:gd name="connsiteX26" fmla="*/ 557582 w 3687707"/>
                  <a:gd name="connsiteY26" fmla="*/ 2568008 h 4048081"/>
                  <a:gd name="connsiteX27" fmla="*/ 557582 w 3687707"/>
                  <a:gd name="connsiteY27" fmla="*/ 1277385 h 4048081"/>
                  <a:gd name="connsiteX28" fmla="*/ 842566 w 3687707"/>
                  <a:gd name="connsiteY28" fmla="*/ 993211 h 4048081"/>
                  <a:gd name="connsiteX29" fmla="*/ 3040618 w 3687707"/>
                  <a:gd name="connsiteY29" fmla="*/ 245790 h 4048081"/>
                  <a:gd name="connsiteX30" fmla="*/ 3426867 w 3687707"/>
                  <a:gd name="connsiteY30" fmla="*/ 637055 h 4048081"/>
                  <a:gd name="connsiteX31" fmla="*/ 3040618 w 3687707"/>
                  <a:gd name="connsiteY31" fmla="*/ 1028320 h 4048081"/>
                  <a:gd name="connsiteX32" fmla="*/ 2654369 w 3687707"/>
                  <a:gd name="connsiteY32" fmla="*/ 637055 h 4048081"/>
                  <a:gd name="connsiteX33" fmla="*/ 3040618 w 3687707"/>
                  <a:gd name="connsiteY33" fmla="*/ 245790 h 4048081"/>
                  <a:gd name="connsiteX34" fmla="*/ 1315029 w 3687707"/>
                  <a:gd name="connsiteY34" fmla="*/ 0 h 4048081"/>
                  <a:gd name="connsiteX35" fmla="*/ 1766490 w 3687707"/>
                  <a:gd name="connsiteY35" fmla="*/ 453969 h 4048081"/>
                  <a:gd name="connsiteX36" fmla="*/ 1315029 w 3687707"/>
                  <a:gd name="connsiteY36" fmla="*/ 907938 h 4048081"/>
                  <a:gd name="connsiteX37" fmla="*/ 863568 w 3687707"/>
                  <a:gd name="connsiteY37" fmla="*/ 453969 h 4048081"/>
                  <a:gd name="connsiteX38" fmla="*/ 1315029 w 3687707"/>
                  <a:gd name="connsiteY38"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483035 w 3130124"/>
                  <a:gd name="connsiteY26" fmla="*/ 245790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2483035 w 3130124"/>
                  <a:gd name="connsiteY30" fmla="*/ 245790 h 4048081"/>
                  <a:gd name="connsiteX31" fmla="*/ 757446 w 3130124"/>
                  <a:gd name="connsiteY31" fmla="*/ 0 h 4048081"/>
                  <a:gd name="connsiteX32" fmla="*/ 1208907 w 3130124"/>
                  <a:gd name="connsiteY32" fmla="*/ 453969 h 4048081"/>
                  <a:gd name="connsiteX33" fmla="*/ 757446 w 3130124"/>
                  <a:gd name="connsiteY33" fmla="*/ 907938 h 4048081"/>
                  <a:gd name="connsiteX34" fmla="*/ 305985 w 3130124"/>
                  <a:gd name="connsiteY34" fmla="*/ 453969 h 4048081"/>
                  <a:gd name="connsiteX35" fmla="*/ 757446 w 3130124"/>
                  <a:gd name="connsiteY35"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757446 w 3130124"/>
                  <a:gd name="connsiteY30" fmla="*/ 0 h 4048081"/>
                  <a:gd name="connsiteX31" fmla="*/ 1208907 w 3130124"/>
                  <a:gd name="connsiteY31" fmla="*/ 453969 h 4048081"/>
                  <a:gd name="connsiteX32" fmla="*/ 757446 w 3130124"/>
                  <a:gd name="connsiteY32" fmla="*/ 907938 h 4048081"/>
                  <a:gd name="connsiteX33" fmla="*/ 305985 w 3130124"/>
                  <a:gd name="connsiteY33" fmla="*/ 453969 h 4048081"/>
                  <a:gd name="connsiteX34" fmla="*/ 757446 w 3130124"/>
                  <a:gd name="connsiteY34"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483035 w 3130124"/>
                  <a:gd name="connsiteY27" fmla="*/ 1028320 h 4048081"/>
                  <a:gd name="connsiteX28" fmla="*/ 2096786 w 3130124"/>
                  <a:gd name="connsiteY28" fmla="*/ 637055 h 4048081"/>
                  <a:gd name="connsiteX29" fmla="*/ 757446 w 3130124"/>
                  <a:gd name="connsiteY29" fmla="*/ 0 h 4048081"/>
                  <a:gd name="connsiteX30" fmla="*/ 1208907 w 3130124"/>
                  <a:gd name="connsiteY30" fmla="*/ 453969 h 4048081"/>
                  <a:gd name="connsiteX31" fmla="*/ 757446 w 3130124"/>
                  <a:gd name="connsiteY31" fmla="*/ 907938 h 4048081"/>
                  <a:gd name="connsiteX32" fmla="*/ 305985 w 3130124"/>
                  <a:gd name="connsiteY32" fmla="*/ 453969 h 4048081"/>
                  <a:gd name="connsiteX33" fmla="*/ 757446 w 3130124"/>
                  <a:gd name="connsiteY33"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757446 w 3130124"/>
                  <a:gd name="connsiteY26" fmla="*/ 0 h 4048081"/>
                  <a:gd name="connsiteX27" fmla="*/ 1208907 w 3130124"/>
                  <a:gd name="connsiteY27" fmla="*/ 453969 h 4048081"/>
                  <a:gd name="connsiteX28" fmla="*/ 757446 w 3130124"/>
                  <a:gd name="connsiteY28" fmla="*/ 907938 h 4048081"/>
                  <a:gd name="connsiteX29" fmla="*/ 305985 w 3130124"/>
                  <a:gd name="connsiteY29" fmla="*/ 453969 h 4048081"/>
                  <a:gd name="connsiteX30" fmla="*/ 757446 w 3130124"/>
                  <a:gd name="connsiteY30" fmla="*/ 0 h 4048081"/>
                  <a:gd name="connsiteX0" fmla="*/ 2073403 w 3130124"/>
                  <a:gd name="connsiteY0" fmla="*/ 1098549 h 4048081"/>
                  <a:gd name="connsiteX1" fmla="*/ 3130124 w 3130124"/>
                  <a:gd name="connsiteY1" fmla="*/ 1335514 h 4048081"/>
                  <a:gd name="connsiteX2" fmla="*/ 3130124 w 3130124"/>
                  <a:gd name="connsiteY2" fmla="*/ 2449249 h 4048081"/>
                  <a:gd name="connsiteX3" fmla="*/ 2892659 w 3130124"/>
                  <a:gd name="connsiteY3" fmla="*/ 2686214 h 4048081"/>
                  <a:gd name="connsiteX4" fmla="*/ 2892659 w 3130124"/>
                  <a:gd name="connsiteY4" fmla="*/ 3480046 h 4048081"/>
                  <a:gd name="connsiteX5" fmla="*/ 2655194 w 3130124"/>
                  <a:gd name="connsiteY5" fmla="*/ 3717011 h 4048081"/>
                  <a:gd name="connsiteX6" fmla="*/ 2298995 w 3130124"/>
                  <a:gd name="connsiteY6" fmla="*/ 3717011 h 4048081"/>
                  <a:gd name="connsiteX7" fmla="*/ 2073403 w 3130124"/>
                  <a:gd name="connsiteY7" fmla="*/ 3480046 h 4048081"/>
                  <a:gd name="connsiteX8" fmla="*/ 2073403 w 3130124"/>
                  <a:gd name="connsiteY8" fmla="*/ 2686214 h 4048081"/>
                  <a:gd name="connsiteX9" fmla="*/ 1835937 w 3130124"/>
                  <a:gd name="connsiteY9" fmla="*/ 2449249 h 4048081"/>
                  <a:gd name="connsiteX10" fmla="*/ 1835937 w 3130124"/>
                  <a:gd name="connsiteY10" fmla="*/ 1335514 h 4048081"/>
                  <a:gd name="connsiteX11" fmla="*/ 2073403 w 3130124"/>
                  <a:gd name="connsiteY11" fmla="*/ 1098549 h 4048081"/>
                  <a:gd name="connsiteX12" fmla="*/ 284983 w 3130124"/>
                  <a:gd name="connsiteY12" fmla="*/ 993211 h 4048081"/>
                  <a:gd name="connsiteX13" fmla="*/ 1234930 w 3130124"/>
                  <a:gd name="connsiteY13" fmla="*/ 993211 h 4048081"/>
                  <a:gd name="connsiteX14" fmla="*/ 1519914 w 3130124"/>
                  <a:gd name="connsiteY14" fmla="*/ 1277385 h 4048081"/>
                  <a:gd name="connsiteX15" fmla="*/ 1519914 w 3130124"/>
                  <a:gd name="connsiteY15" fmla="*/ 2568008 h 4048081"/>
                  <a:gd name="connsiteX16" fmla="*/ 1234930 w 3130124"/>
                  <a:gd name="connsiteY16" fmla="*/ 2852182 h 4048081"/>
                  <a:gd name="connsiteX17" fmla="*/ 1234930 w 3130124"/>
                  <a:gd name="connsiteY17" fmla="*/ 3763907 h 4048081"/>
                  <a:gd name="connsiteX18" fmla="*/ 961820 w 3130124"/>
                  <a:gd name="connsiteY18" fmla="*/ 4048081 h 4048081"/>
                  <a:gd name="connsiteX19" fmla="*/ 558093 w 3130124"/>
                  <a:gd name="connsiteY19" fmla="*/ 4048081 h 4048081"/>
                  <a:gd name="connsiteX20" fmla="*/ 284983 w 3130124"/>
                  <a:gd name="connsiteY20" fmla="*/ 3763907 h 4048081"/>
                  <a:gd name="connsiteX21" fmla="*/ 284983 w 3130124"/>
                  <a:gd name="connsiteY21" fmla="*/ 2852182 h 4048081"/>
                  <a:gd name="connsiteX22" fmla="*/ -1 w 3130124"/>
                  <a:gd name="connsiteY22" fmla="*/ 2568008 h 4048081"/>
                  <a:gd name="connsiteX23" fmla="*/ -1 w 3130124"/>
                  <a:gd name="connsiteY23" fmla="*/ 1277385 h 4048081"/>
                  <a:gd name="connsiteX24" fmla="*/ 284983 w 3130124"/>
                  <a:gd name="connsiteY24" fmla="*/ 993211 h 4048081"/>
                  <a:gd name="connsiteX25" fmla="*/ 757446 w 3130124"/>
                  <a:gd name="connsiteY25" fmla="*/ 0 h 4048081"/>
                  <a:gd name="connsiteX26" fmla="*/ 1208907 w 3130124"/>
                  <a:gd name="connsiteY26" fmla="*/ 453969 h 4048081"/>
                  <a:gd name="connsiteX27" fmla="*/ 757446 w 3130124"/>
                  <a:gd name="connsiteY27" fmla="*/ 907938 h 4048081"/>
                  <a:gd name="connsiteX28" fmla="*/ 305985 w 3130124"/>
                  <a:gd name="connsiteY28" fmla="*/ 453969 h 4048081"/>
                  <a:gd name="connsiteX29" fmla="*/ 757446 w 3130124"/>
                  <a:gd name="connsiteY29" fmla="*/ 0 h 4048081"/>
                  <a:gd name="connsiteX0" fmla="*/ 2073403 w 3130124"/>
                  <a:gd name="connsiteY0" fmla="*/ 1098549 h 4048081"/>
                  <a:gd name="connsiteX1" fmla="*/ 3130124 w 3130124"/>
                  <a:gd name="connsiteY1" fmla="*/ 2449249 h 4048081"/>
                  <a:gd name="connsiteX2" fmla="*/ 2892659 w 3130124"/>
                  <a:gd name="connsiteY2" fmla="*/ 2686214 h 4048081"/>
                  <a:gd name="connsiteX3" fmla="*/ 2892659 w 3130124"/>
                  <a:gd name="connsiteY3" fmla="*/ 3480046 h 4048081"/>
                  <a:gd name="connsiteX4" fmla="*/ 2655194 w 3130124"/>
                  <a:gd name="connsiteY4" fmla="*/ 3717011 h 4048081"/>
                  <a:gd name="connsiteX5" fmla="*/ 2298995 w 3130124"/>
                  <a:gd name="connsiteY5" fmla="*/ 3717011 h 4048081"/>
                  <a:gd name="connsiteX6" fmla="*/ 2073403 w 3130124"/>
                  <a:gd name="connsiteY6" fmla="*/ 3480046 h 4048081"/>
                  <a:gd name="connsiteX7" fmla="*/ 2073403 w 3130124"/>
                  <a:gd name="connsiteY7" fmla="*/ 2686214 h 4048081"/>
                  <a:gd name="connsiteX8" fmla="*/ 1835937 w 3130124"/>
                  <a:gd name="connsiteY8" fmla="*/ 2449249 h 4048081"/>
                  <a:gd name="connsiteX9" fmla="*/ 1835937 w 3130124"/>
                  <a:gd name="connsiteY9" fmla="*/ 1335514 h 4048081"/>
                  <a:gd name="connsiteX10" fmla="*/ 2073403 w 3130124"/>
                  <a:gd name="connsiteY10" fmla="*/ 1098549 h 4048081"/>
                  <a:gd name="connsiteX11" fmla="*/ 284983 w 3130124"/>
                  <a:gd name="connsiteY11" fmla="*/ 993211 h 4048081"/>
                  <a:gd name="connsiteX12" fmla="*/ 1234930 w 3130124"/>
                  <a:gd name="connsiteY12" fmla="*/ 993211 h 4048081"/>
                  <a:gd name="connsiteX13" fmla="*/ 1519914 w 3130124"/>
                  <a:gd name="connsiteY13" fmla="*/ 1277385 h 4048081"/>
                  <a:gd name="connsiteX14" fmla="*/ 1519914 w 3130124"/>
                  <a:gd name="connsiteY14" fmla="*/ 2568008 h 4048081"/>
                  <a:gd name="connsiteX15" fmla="*/ 1234930 w 3130124"/>
                  <a:gd name="connsiteY15" fmla="*/ 2852182 h 4048081"/>
                  <a:gd name="connsiteX16" fmla="*/ 1234930 w 3130124"/>
                  <a:gd name="connsiteY16" fmla="*/ 3763907 h 4048081"/>
                  <a:gd name="connsiteX17" fmla="*/ 961820 w 3130124"/>
                  <a:gd name="connsiteY17" fmla="*/ 4048081 h 4048081"/>
                  <a:gd name="connsiteX18" fmla="*/ 558093 w 3130124"/>
                  <a:gd name="connsiteY18" fmla="*/ 4048081 h 4048081"/>
                  <a:gd name="connsiteX19" fmla="*/ 284983 w 3130124"/>
                  <a:gd name="connsiteY19" fmla="*/ 3763907 h 4048081"/>
                  <a:gd name="connsiteX20" fmla="*/ 284983 w 3130124"/>
                  <a:gd name="connsiteY20" fmla="*/ 2852182 h 4048081"/>
                  <a:gd name="connsiteX21" fmla="*/ -1 w 3130124"/>
                  <a:gd name="connsiteY21" fmla="*/ 2568008 h 4048081"/>
                  <a:gd name="connsiteX22" fmla="*/ -1 w 3130124"/>
                  <a:gd name="connsiteY22" fmla="*/ 1277385 h 4048081"/>
                  <a:gd name="connsiteX23" fmla="*/ 284983 w 3130124"/>
                  <a:gd name="connsiteY23" fmla="*/ 993211 h 4048081"/>
                  <a:gd name="connsiteX24" fmla="*/ 757446 w 3130124"/>
                  <a:gd name="connsiteY24" fmla="*/ 0 h 4048081"/>
                  <a:gd name="connsiteX25" fmla="*/ 1208907 w 3130124"/>
                  <a:gd name="connsiteY25" fmla="*/ 453969 h 4048081"/>
                  <a:gd name="connsiteX26" fmla="*/ 757446 w 3130124"/>
                  <a:gd name="connsiteY26" fmla="*/ 907938 h 4048081"/>
                  <a:gd name="connsiteX27" fmla="*/ 305985 w 3130124"/>
                  <a:gd name="connsiteY27" fmla="*/ 453969 h 4048081"/>
                  <a:gd name="connsiteX28" fmla="*/ 757446 w 3130124"/>
                  <a:gd name="connsiteY28"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6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6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7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7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1835937 w 3186245"/>
                  <a:gd name="connsiteY7" fmla="*/ 1335514 h 4048081"/>
                  <a:gd name="connsiteX8" fmla="*/ 284983 w 3186245"/>
                  <a:gd name="connsiteY8" fmla="*/ 993211 h 4048081"/>
                  <a:gd name="connsiteX9" fmla="*/ 1234930 w 3186245"/>
                  <a:gd name="connsiteY9" fmla="*/ 993211 h 4048081"/>
                  <a:gd name="connsiteX10" fmla="*/ 1519914 w 3186245"/>
                  <a:gd name="connsiteY10" fmla="*/ 1277385 h 4048081"/>
                  <a:gd name="connsiteX11" fmla="*/ 1519914 w 3186245"/>
                  <a:gd name="connsiteY11" fmla="*/ 2568008 h 4048081"/>
                  <a:gd name="connsiteX12" fmla="*/ 1234930 w 3186245"/>
                  <a:gd name="connsiteY12" fmla="*/ 2852182 h 4048081"/>
                  <a:gd name="connsiteX13" fmla="*/ 1234930 w 3186245"/>
                  <a:gd name="connsiteY13" fmla="*/ 3763907 h 4048081"/>
                  <a:gd name="connsiteX14" fmla="*/ 961820 w 3186245"/>
                  <a:gd name="connsiteY14" fmla="*/ 4048081 h 4048081"/>
                  <a:gd name="connsiteX15" fmla="*/ 558093 w 3186245"/>
                  <a:gd name="connsiteY15" fmla="*/ 4048081 h 4048081"/>
                  <a:gd name="connsiteX16" fmla="*/ 284983 w 3186245"/>
                  <a:gd name="connsiteY16" fmla="*/ 3763907 h 4048081"/>
                  <a:gd name="connsiteX17" fmla="*/ 284983 w 3186245"/>
                  <a:gd name="connsiteY17" fmla="*/ 2852182 h 4048081"/>
                  <a:gd name="connsiteX18" fmla="*/ -1 w 3186245"/>
                  <a:gd name="connsiteY18" fmla="*/ 2568008 h 4048081"/>
                  <a:gd name="connsiteX19" fmla="*/ -1 w 3186245"/>
                  <a:gd name="connsiteY19" fmla="*/ 1277385 h 4048081"/>
                  <a:gd name="connsiteX20" fmla="*/ 284983 w 3186245"/>
                  <a:gd name="connsiteY20" fmla="*/ 993211 h 4048081"/>
                  <a:gd name="connsiteX21" fmla="*/ 757447 w 3186245"/>
                  <a:gd name="connsiteY21" fmla="*/ 0 h 4048081"/>
                  <a:gd name="connsiteX22" fmla="*/ 1208907 w 3186245"/>
                  <a:gd name="connsiteY22" fmla="*/ 453969 h 4048081"/>
                  <a:gd name="connsiteX23" fmla="*/ 757446 w 3186245"/>
                  <a:gd name="connsiteY23" fmla="*/ 907938 h 4048081"/>
                  <a:gd name="connsiteX24" fmla="*/ 305985 w 3186245"/>
                  <a:gd name="connsiteY24" fmla="*/ 453969 h 4048081"/>
                  <a:gd name="connsiteX25" fmla="*/ 757447 w 3186245"/>
                  <a:gd name="connsiteY25"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1835937 w 3186245"/>
                  <a:gd name="connsiteY6" fmla="*/ 1335514 h 4048081"/>
                  <a:gd name="connsiteX7" fmla="*/ 284983 w 3186245"/>
                  <a:gd name="connsiteY7" fmla="*/ 993211 h 4048081"/>
                  <a:gd name="connsiteX8" fmla="*/ 1234930 w 3186245"/>
                  <a:gd name="connsiteY8" fmla="*/ 993211 h 4048081"/>
                  <a:gd name="connsiteX9" fmla="*/ 1519914 w 3186245"/>
                  <a:gd name="connsiteY9" fmla="*/ 1277385 h 4048081"/>
                  <a:gd name="connsiteX10" fmla="*/ 1519914 w 3186245"/>
                  <a:gd name="connsiteY10" fmla="*/ 2568008 h 4048081"/>
                  <a:gd name="connsiteX11" fmla="*/ 1234930 w 3186245"/>
                  <a:gd name="connsiteY11" fmla="*/ 2852182 h 4048081"/>
                  <a:gd name="connsiteX12" fmla="*/ 1234930 w 3186245"/>
                  <a:gd name="connsiteY12" fmla="*/ 3763907 h 4048081"/>
                  <a:gd name="connsiteX13" fmla="*/ 961820 w 3186245"/>
                  <a:gd name="connsiteY13" fmla="*/ 4048081 h 4048081"/>
                  <a:gd name="connsiteX14" fmla="*/ 558093 w 3186245"/>
                  <a:gd name="connsiteY14" fmla="*/ 4048081 h 4048081"/>
                  <a:gd name="connsiteX15" fmla="*/ 284983 w 3186245"/>
                  <a:gd name="connsiteY15" fmla="*/ 3763907 h 4048081"/>
                  <a:gd name="connsiteX16" fmla="*/ 284983 w 3186245"/>
                  <a:gd name="connsiteY16" fmla="*/ 2852182 h 4048081"/>
                  <a:gd name="connsiteX17" fmla="*/ -1 w 3186245"/>
                  <a:gd name="connsiteY17" fmla="*/ 2568008 h 4048081"/>
                  <a:gd name="connsiteX18" fmla="*/ -1 w 3186245"/>
                  <a:gd name="connsiteY18" fmla="*/ 1277385 h 4048081"/>
                  <a:gd name="connsiteX19" fmla="*/ 284983 w 3186245"/>
                  <a:gd name="connsiteY19" fmla="*/ 993211 h 4048081"/>
                  <a:gd name="connsiteX20" fmla="*/ 757447 w 3186245"/>
                  <a:gd name="connsiteY20" fmla="*/ 0 h 4048081"/>
                  <a:gd name="connsiteX21" fmla="*/ 1208907 w 3186245"/>
                  <a:gd name="connsiteY21" fmla="*/ 453969 h 4048081"/>
                  <a:gd name="connsiteX22" fmla="*/ 757446 w 3186245"/>
                  <a:gd name="connsiteY22" fmla="*/ 907938 h 4048081"/>
                  <a:gd name="connsiteX23" fmla="*/ 305985 w 3186245"/>
                  <a:gd name="connsiteY23" fmla="*/ 453969 h 4048081"/>
                  <a:gd name="connsiteX24" fmla="*/ 757447 w 3186245"/>
                  <a:gd name="connsiteY24"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1835937 w 3186245"/>
                  <a:gd name="connsiteY5" fmla="*/ 1335514 h 4048081"/>
                  <a:gd name="connsiteX6" fmla="*/ 284983 w 3186245"/>
                  <a:gd name="connsiteY6" fmla="*/ 993211 h 4048081"/>
                  <a:gd name="connsiteX7" fmla="*/ 1234930 w 3186245"/>
                  <a:gd name="connsiteY7" fmla="*/ 993211 h 4048081"/>
                  <a:gd name="connsiteX8" fmla="*/ 1519914 w 3186245"/>
                  <a:gd name="connsiteY8" fmla="*/ 1277385 h 4048081"/>
                  <a:gd name="connsiteX9" fmla="*/ 1519914 w 3186245"/>
                  <a:gd name="connsiteY9" fmla="*/ 2568008 h 4048081"/>
                  <a:gd name="connsiteX10" fmla="*/ 1234930 w 3186245"/>
                  <a:gd name="connsiteY10" fmla="*/ 2852182 h 4048081"/>
                  <a:gd name="connsiteX11" fmla="*/ 1234930 w 3186245"/>
                  <a:gd name="connsiteY11" fmla="*/ 3763907 h 4048081"/>
                  <a:gd name="connsiteX12" fmla="*/ 961820 w 3186245"/>
                  <a:gd name="connsiteY12" fmla="*/ 4048081 h 4048081"/>
                  <a:gd name="connsiteX13" fmla="*/ 558093 w 3186245"/>
                  <a:gd name="connsiteY13" fmla="*/ 4048081 h 4048081"/>
                  <a:gd name="connsiteX14" fmla="*/ 284983 w 3186245"/>
                  <a:gd name="connsiteY14" fmla="*/ 3763907 h 4048081"/>
                  <a:gd name="connsiteX15" fmla="*/ 284983 w 3186245"/>
                  <a:gd name="connsiteY15" fmla="*/ 2852182 h 4048081"/>
                  <a:gd name="connsiteX16" fmla="*/ -1 w 3186245"/>
                  <a:gd name="connsiteY16" fmla="*/ 2568008 h 4048081"/>
                  <a:gd name="connsiteX17" fmla="*/ -1 w 3186245"/>
                  <a:gd name="connsiteY17" fmla="*/ 1277385 h 4048081"/>
                  <a:gd name="connsiteX18" fmla="*/ 284983 w 3186245"/>
                  <a:gd name="connsiteY18" fmla="*/ 993211 h 4048081"/>
                  <a:gd name="connsiteX19" fmla="*/ 757447 w 3186245"/>
                  <a:gd name="connsiteY19" fmla="*/ 0 h 4048081"/>
                  <a:gd name="connsiteX20" fmla="*/ 1208907 w 3186245"/>
                  <a:gd name="connsiteY20" fmla="*/ 453969 h 4048081"/>
                  <a:gd name="connsiteX21" fmla="*/ 757446 w 3186245"/>
                  <a:gd name="connsiteY21" fmla="*/ 907938 h 4048081"/>
                  <a:gd name="connsiteX22" fmla="*/ 305985 w 3186245"/>
                  <a:gd name="connsiteY22" fmla="*/ 453969 h 4048081"/>
                  <a:gd name="connsiteX23" fmla="*/ 757447 w 3186245"/>
                  <a:gd name="connsiteY23"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1835937 w 3186245"/>
                  <a:gd name="connsiteY4" fmla="*/ 1335514 h 4048081"/>
                  <a:gd name="connsiteX5" fmla="*/ 284983 w 3186245"/>
                  <a:gd name="connsiteY5" fmla="*/ 993211 h 4048081"/>
                  <a:gd name="connsiteX6" fmla="*/ 1234930 w 3186245"/>
                  <a:gd name="connsiteY6" fmla="*/ 993211 h 4048081"/>
                  <a:gd name="connsiteX7" fmla="*/ 1519914 w 3186245"/>
                  <a:gd name="connsiteY7" fmla="*/ 1277385 h 4048081"/>
                  <a:gd name="connsiteX8" fmla="*/ 1519914 w 3186245"/>
                  <a:gd name="connsiteY8" fmla="*/ 2568008 h 4048081"/>
                  <a:gd name="connsiteX9" fmla="*/ 1234930 w 3186245"/>
                  <a:gd name="connsiteY9" fmla="*/ 2852182 h 4048081"/>
                  <a:gd name="connsiteX10" fmla="*/ 1234930 w 3186245"/>
                  <a:gd name="connsiteY10" fmla="*/ 3763907 h 4048081"/>
                  <a:gd name="connsiteX11" fmla="*/ 961820 w 3186245"/>
                  <a:gd name="connsiteY11" fmla="*/ 4048081 h 4048081"/>
                  <a:gd name="connsiteX12" fmla="*/ 558093 w 3186245"/>
                  <a:gd name="connsiteY12" fmla="*/ 4048081 h 4048081"/>
                  <a:gd name="connsiteX13" fmla="*/ 284983 w 3186245"/>
                  <a:gd name="connsiteY13" fmla="*/ 3763907 h 4048081"/>
                  <a:gd name="connsiteX14" fmla="*/ 284983 w 3186245"/>
                  <a:gd name="connsiteY14" fmla="*/ 2852182 h 4048081"/>
                  <a:gd name="connsiteX15" fmla="*/ -1 w 3186245"/>
                  <a:gd name="connsiteY15" fmla="*/ 2568008 h 4048081"/>
                  <a:gd name="connsiteX16" fmla="*/ -1 w 3186245"/>
                  <a:gd name="connsiteY16" fmla="*/ 1277385 h 4048081"/>
                  <a:gd name="connsiteX17" fmla="*/ 284983 w 3186245"/>
                  <a:gd name="connsiteY17" fmla="*/ 993211 h 4048081"/>
                  <a:gd name="connsiteX18" fmla="*/ 757447 w 3186245"/>
                  <a:gd name="connsiteY18" fmla="*/ 0 h 4048081"/>
                  <a:gd name="connsiteX19" fmla="*/ 1208907 w 3186245"/>
                  <a:gd name="connsiteY19" fmla="*/ 453969 h 4048081"/>
                  <a:gd name="connsiteX20" fmla="*/ 757446 w 3186245"/>
                  <a:gd name="connsiteY20" fmla="*/ 907938 h 4048081"/>
                  <a:gd name="connsiteX21" fmla="*/ 305985 w 3186245"/>
                  <a:gd name="connsiteY21" fmla="*/ 453969 h 4048081"/>
                  <a:gd name="connsiteX22" fmla="*/ 757447 w 3186245"/>
                  <a:gd name="connsiteY22"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30124"/>
                  <a:gd name="connsiteY0" fmla="*/ 1335514 h 4048081"/>
                  <a:gd name="connsiteX1" fmla="*/ 3130124 w 3130124"/>
                  <a:gd name="connsiteY1" fmla="*/ 2449249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1835937 w 3130124"/>
                  <a:gd name="connsiteY0" fmla="*/ 1335514 h 4048081"/>
                  <a:gd name="connsiteX1" fmla="*/ 3130124 w 3130124"/>
                  <a:gd name="connsiteY1" fmla="*/ 2449250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913" h="4048081">
                    <a:moveTo>
                      <a:pt x="284983" y="993211"/>
                    </a:moveTo>
                    <a:lnTo>
                      <a:pt x="1234930" y="993211"/>
                    </a:lnTo>
                    <a:cubicBezTo>
                      <a:pt x="1389296" y="993211"/>
                      <a:pt x="1519914" y="1123457"/>
                      <a:pt x="1519914" y="1277385"/>
                    </a:cubicBezTo>
                    <a:lnTo>
                      <a:pt x="1519914" y="2568008"/>
                    </a:lnTo>
                    <a:cubicBezTo>
                      <a:pt x="1519914" y="2721936"/>
                      <a:pt x="1389296" y="2852182"/>
                      <a:pt x="1234930" y="2852182"/>
                    </a:cubicBezTo>
                    <a:lnTo>
                      <a:pt x="1234930" y="3763907"/>
                    </a:lnTo>
                    <a:cubicBezTo>
                      <a:pt x="1234930" y="3917835"/>
                      <a:pt x="1116187" y="4048081"/>
                      <a:pt x="961820" y="4048081"/>
                    </a:cubicBezTo>
                    <a:lnTo>
                      <a:pt x="558093" y="4048081"/>
                    </a:lnTo>
                    <a:cubicBezTo>
                      <a:pt x="403726" y="4048081"/>
                      <a:pt x="284983" y="3917835"/>
                      <a:pt x="284983" y="3763907"/>
                    </a:cubicBezTo>
                    <a:lnTo>
                      <a:pt x="284983" y="2852182"/>
                    </a:lnTo>
                    <a:cubicBezTo>
                      <a:pt x="130617" y="2852182"/>
                      <a:pt x="-1" y="2721936"/>
                      <a:pt x="-1" y="2568008"/>
                    </a:cubicBezTo>
                    <a:lnTo>
                      <a:pt x="-1" y="1277385"/>
                    </a:lnTo>
                    <a:cubicBezTo>
                      <a:pt x="-1" y="1123457"/>
                      <a:pt x="130617" y="993211"/>
                      <a:pt x="284983" y="993211"/>
                    </a:cubicBezTo>
                    <a:close/>
                    <a:moveTo>
                      <a:pt x="757447" y="0"/>
                    </a:moveTo>
                    <a:cubicBezTo>
                      <a:pt x="1006782" y="0"/>
                      <a:pt x="1208908" y="198778"/>
                      <a:pt x="1208907" y="453969"/>
                    </a:cubicBezTo>
                    <a:cubicBezTo>
                      <a:pt x="1208906" y="709160"/>
                      <a:pt x="1006781" y="907938"/>
                      <a:pt x="757446" y="907938"/>
                    </a:cubicBezTo>
                    <a:cubicBezTo>
                      <a:pt x="508111" y="907938"/>
                      <a:pt x="298624" y="701997"/>
                      <a:pt x="305985" y="453969"/>
                    </a:cubicBezTo>
                    <a:cubicBezTo>
                      <a:pt x="313346" y="205941"/>
                      <a:pt x="508112" y="0"/>
                      <a:pt x="757447" y="0"/>
                    </a:cubicBezTo>
                    <a:close/>
                  </a:path>
                </a:pathLst>
              </a:custGeom>
              <a:solidFill>
                <a:schemeClr val="bg1"/>
              </a:solidFill>
              <a:ln w="12700">
                <a:solidFill>
                  <a:srgbClr val="0070C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 </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1" name="Freeform 48"/>
              <p:cNvSpPr>
                <a:spLocks noChangeAspect="1"/>
              </p:cNvSpPr>
              <p:nvPr/>
            </p:nvSpPr>
            <p:spPr bwMode="black">
              <a:xfrm flipH="1">
                <a:off x="3970750" y="4211872"/>
                <a:ext cx="224229" cy="613609"/>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367657 w 4740335"/>
                  <a:gd name="connsiteY44" fmla="*/ 0 h 4048081"/>
                  <a:gd name="connsiteX45" fmla="*/ 2819118 w 4740335"/>
                  <a:gd name="connsiteY45" fmla="*/ 453969 h 4048081"/>
                  <a:gd name="connsiteX46" fmla="*/ 2367657 w 4740335"/>
                  <a:gd name="connsiteY46" fmla="*/ 907938 h 4048081"/>
                  <a:gd name="connsiteX47" fmla="*/ 1916196 w 4740335"/>
                  <a:gd name="connsiteY47" fmla="*/ 453969 h 4048081"/>
                  <a:gd name="connsiteX48" fmla="*/ 2367657 w 4740335"/>
                  <a:gd name="connsiteY48"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2367657 w 4740335"/>
                  <a:gd name="connsiteY43" fmla="*/ 0 h 4048081"/>
                  <a:gd name="connsiteX44" fmla="*/ 2819118 w 4740335"/>
                  <a:gd name="connsiteY44" fmla="*/ 453969 h 4048081"/>
                  <a:gd name="connsiteX45" fmla="*/ 2367657 w 4740335"/>
                  <a:gd name="connsiteY45" fmla="*/ 907938 h 4048081"/>
                  <a:gd name="connsiteX46" fmla="*/ 1916196 w 4740335"/>
                  <a:gd name="connsiteY46" fmla="*/ 453969 h 4048081"/>
                  <a:gd name="connsiteX47" fmla="*/ 2367657 w 4740335"/>
                  <a:gd name="connsiteY47" fmla="*/ 0 h 4048081"/>
                  <a:gd name="connsiteX0" fmla="*/ 3779109 w 4835830"/>
                  <a:gd name="connsiteY0" fmla="*/ 1098549 h 4048081"/>
                  <a:gd name="connsiteX1" fmla="*/ 4598365 w 4835830"/>
                  <a:gd name="connsiteY1" fmla="*/ 1098549 h 4048081"/>
                  <a:gd name="connsiteX2" fmla="*/ 4835830 w 4835830"/>
                  <a:gd name="connsiteY2" fmla="*/ 1335514 h 4048081"/>
                  <a:gd name="connsiteX3" fmla="*/ 4835830 w 4835830"/>
                  <a:gd name="connsiteY3" fmla="*/ 2449249 h 4048081"/>
                  <a:gd name="connsiteX4" fmla="*/ 4598365 w 4835830"/>
                  <a:gd name="connsiteY4" fmla="*/ 2686214 h 4048081"/>
                  <a:gd name="connsiteX5" fmla="*/ 4598365 w 4835830"/>
                  <a:gd name="connsiteY5" fmla="*/ 3480046 h 4048081"/>
                  <a:gd name="connsiteX6" fmla="*/ 4360900 w 4835830"/>
                  <a:gd name="connsiteY6" fmla="*/ 3717011 h 4048081"/>
                  <a:gd name="connsiteX7" fmla="*/ 4004701 w 4835830"/>
                  <a:gd name="connsiteY7" fmla="*/ 3717011 h 4048081"/>
                  <a:gd name="connsiteX8" fmla="*/ 3779109 w 4835830"/>
                  <a:gd name="connsiteY8" fmla="*/ 3480046 h 4048081"/>
                  <a:gd name="connsiteX9" fmla="*/ 3779109 w 4835830"/>
                  <a:gd name="connsiteY9" fmla="*/ 2686214 h 4048081"/>
                  <a:gd name="connsiteX10" fmla="*/ 3541643 w 4835830"/>
                  <a:gd name="connsiteY10" fmla="*/ 2449249 h 4048081"/>
                  <a:gd name="connsiteX11" fmla="*/ 3541643 w 4835830"/>
                  <a:gd name="connsiteY11" fmla="*/ 1335514 h 4048081"/>
                  <a:gd name="connsiteX12" fmla="*/ 3779109 w 4835830"/>
                  <a:gd name="connsiteY12" fmla="*/ 1098549 h 4048081"/>
                  <a:gd name="connsiteX13" fmla="*/ 95495 w 4835830"/>
                  <a:gd name="connsiteY13" fmla="*/ 1335514 h 4048081"/>
                  <a:gd name="connsiteX14" fmla="*/ 1384669 w 4835830"/>
                  <a:gd name="connsiteY14" fmla="*/ 1335514 h 4048081"/>
                  <a:gd name="connsiteX15" fmla="*/ 1384669 w 4835830"/>
                  <a:gd name="connsiteY15" fmla="*/ 2449249 h 4048081"/>
                  <a:gd name="connsiteX16" fmla="*/ 1148123 w 4835830"/>
                  <a:gd name="connsiteY16" fmla="*/ 2686214 h 4048081"/>
                  <a:gd name="connsiteX17" fmla="*/ 1148123 w 4835830"/>
                  <a:gd name="connsiteY17" fmla="*/ 3480046 h 4048081"/>
                  <a:gd name="connsiteX18" fmla="*/ 923405 w 4835830"/>
                  <a:gd name="connsiteY18" fmla="*/ 3717011 h 4048081"/>
                  <a:gd name="connsiteX19" fmla="*/ 568586 w 4835830"/>
                  <a:gd name="connsiteY19" fmla="*/ 3717011 h 4048081"/>
                  <a:gd name="connsiteX20" fmla="*/ 332041 w 4835830"/>
                  <a:gd name="connsiteY20" fmla="*/ 3480046 h 4048081"/>
                  <a:gd name="connsiteX21" fmla="*/ 332041 w 4835830"/>
                  <a:gd name="connsiteY21" fmla="*/ 2686214 h 4048081"/>
                  <a:gd name="connsiteX22" fmla="*/ 95495 w 4835830"/>
                  <a:gd name="connsiteY22" fmla="*/ 2449249 h 4048081"/>
                  <a:gd name="connsiteX23" fmla="*/ 95495 w 4835830"/>
                  <a:gd name="connsiteY23" fmla="*/ 1335514 h 4048081"/>
                  <a:gd name="connsiteX24" fmla="*/ 1990689 w 4835830"/>
                  <a:gd name="connsiteY24" fmla="*/ 993211 h 4048081"/>
                  <a:gd name="connsiteX25" fmla="*/ 2940636 w 4835830"/>
                  <a:gd name="connsiteY25" fmla="*/ 993211 h 4048081"/>
                  <a:gd name="connsiteX26" fmla="*/ 3225620 w 4835830"/>
                  <a:gd name="connsiteY26" fmla="*/ 1277385 h 4048081"/>
                  <a:gd name="connsiteX27" fmla="*/ 3225620 w 4835830"/>
                  <a:gd name="connsiteY27" fmla="*/ 2568008 h 4048081"/>
                  <a:gd name="connsiteX28" fmla="*/ 2940636 w 4835830"/>
                  <a:gd name="connsiteY28" fmla="*/ 2852182 h 4048081"/>
                  <a:gd name="connsiteX29" fmla="*/ 2940636 w 4835830"/>
                  <a:gd name="connsiteY29" fmla="*/ 3763907 h 4048081"/>
                  <a:gd name="connsiteX30" fmla="*/ 2667526 w 4835830"/>
                  <a:gd name="connsiteY30" fmla="*/ 4048081 h 4048081"/>
                  <a:gd name="connsiteX31" fmla="*/ 2263799 w 4835830"/>
                  <a:gd name="connsiteY31" fmla="*/ 4048081 h 4048081"/>
                  <a:gd name="connsiteX32" fmla="*/ 1990689 w 4835830"/>
                  <a:gd name="connsiteY32" fmla="*/ 3763907 h 4048081"/>
                  <a:gd name="connsiteX33" fmla="*/ 1990689 w 4835830"/>
                  <a:gd name="connsiteY33" fmla="*/ 2852182 h 4048081"/>
                  <a:gd name="connsiteX34" fmla="*/ 1705705 w 4835830"/>
                  <a:gd name="connsiteY34" fmla="*/ 2568008 h 4048081"/>
                  <a:gd name="connsiteX35" fmla="*/ 1705705 w 4835830"/>
                  <a:gd name="connsiteY35" fmla="*/ 1277385 h 4048081"/>
                  <a:gd name="connsiteX36" fmla="*/ 1990689 w 4835830"/>
                  <a:gd name="connsiteY36" fmla="*/ 993211 h 4048081"/>
                  <a:gd name="connsiteX37" fmla="*/ 4188741 w 4835830"/>
                  <a:gd name="connsiteY37" fmla="*/ 245790 h 4048081"/>
                  <a:gd name="connsiteX38" fmla="*/ 4574990 w 4835830"/>
                  <a:gd name="connsiteY38" fmla="*/ 637055 h 4048081"/>
                  <a:gd name="connsiteX39" fmla="*/ 4188741 w 4835830"/>
                  <a:gd name="connsiteY39" fmla="*/ 1028320 h 4048081"/>
                  <a:gd name="connsiteX40" fmla="*/ 3802492 w 4835830"/>
                  <a:gd name="connsiteY40" fmla="*/ 637055 h 4048081"/>
                  <a:gd name="connsiteX41" fmla="*/ 4188741 w 4835830"/>
                  <a:gd name="connsiteY41" fmla="*/ 245790 h 4048081"/>
                  <a:gd name="connsiteX42" fmla="*/ 2463152 w 4835830"/>
                  <a:gd name="connsiteY42" fmla="*/ 0 h 4048081"/>
                  <a:gd name="connsiteX43" fmla="*/ 2914613 w 4835830"/>
                  <a:gd name="connsiteY43" fmla="*/ 453969 h 4048081"/>
                  <a:gd name="connsiteX44" fmla="*/ 2463152 w 4835830"/>
                  <a:gd name="connsiteY44" fmla="*/ 907938 h 4048081"/>
                  <a:gd name="connsiteX45" fmla="*/ 2011691 w 4835830"/>
                  <a:gd name="connsiteY45" fmla="*/ 453969 h 4048081"/>
                  <a:gd name="connsiteX46" fmla="*/ 2463152 w 4835830"/>
                  <a:gd name="connsiteY46"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1335514 h 4048081"/>
                  <a:gd name="connsiteX15" fmla="*/ 1345079 w 4796240"/>
                  <a:gd name="connsiteY15" fmla="*/ 2449249 h 4048081"/>
                  <a:gd name="connsiteX16" fmla="*/ 1108533 w 4796240"/>
                  <a:gd name="connsiteY16" fmla="*/ 2686214 h 4048081"/>
                  <a:gd name="connsiteX17" fmla="*/ 1108533 w 4796240"/>
                  <a:gd name="connsiteY17" fmla="*/ 3480046 h 4048081"/>
                  <a:gd name="connsiteX18" fmla="*/ 883815 w 4796240"/>
                  <a:gd name="connsiteY18" fmla="*/ 3717011 h 4048081"/>
                  <a:gd name="connsiteX19" fmla="*/ 528996 w 4796240"/>
                  <a:gd name="connsiteY19" fmla="*/ 3717011 h 4048081"/>
                  <a:gd name="connsiteX20" fmla="*/ 292451 w 4796240"/>
                  <a:gd name="connsiteY20" fmla="*/ 3480046 h 4048081"/>
                  <a:gd name="connsiteX21" fmla="*/ 292451 w 4796240"/>
                  <a:gd name="connsiteY21" fmla="*/ 2686214 h 4048081"/>
                  <a:gd name="connsiteX22" fmla="*/ 55905 w 4796240"/>
                  <a:gd name="connsiteY22" fmla="*/ 2449249 h 4048081"/>
                  <a:gd name="connsiteX23" fmla="*/ 1951099 w 4796240"/>
                  <a:gd name="connsiteY23" fmla="*/ 993211 h 4048081"/>
                  <a:gd name="connsiteX24" fmla="*/ 2901046 w 4796240"/>
                  <a:gd name="connsiteY24" fmla="*/ 993211 h 4048081"/>
                  <a:gd name="connsiteX25" fmla="*/ 3186030 w 4796240"/>
                  <a:gd name="connsiteY25" fmla="*/ 1277385 h 4048081"/>
                  <a:gd name="connsiteX26" fmla="*/ 3186030 w 4796240"/>
                  <a:gd name="connsiteY26" fmla="*/ 2568008 h 4048081"/>
                  <a:gd name="connsiteX27" fmla="*/ 2901046 w 4796240"/>
                  <a:gd name="connsiteY27" fmla="*/ 2852182 h 4048081"/>
                  <a:gd name="connsiteX28" fmla="*/ 2901046 w 4796240"/>
                  <a:gd name="connsiteY28" fmla="*/ 3763907 h 4048081"/>
                  <a:gd name="connsiteX29" fmla="*/ 2627936 w 4796240"/>
                  <a:gd name="connsiteY29" fmla="*/ 4048081 h 4048081"/>
                  <a:gd name="connsiteX30" fmla="*/ 2224209 w 4796240"/>
                  <a:gd name="connsiteY30" fmla="*/ 4048081 h 4048081"/>
                  <a:gd name="connsiteX31" fmla="*/ 1951099 w 4796240"/>
                  <a:gd name="connsiteY31" fmla="*/ 3763907 h 4048081"/>
                  <a:gd name="connsiteX32" fmla="*/ 1951099 w 4796240"/>
                  <a:gd name="connsiteY32" fmla="*/ 2852182 h 4048081"/>
                  <a:gd name="connsiteX33" fmla="*/ 1666115 w 4796240"/>
                  <a:gd name="connsiteY33" fmla="*/ 2568008 h 4048081"/>
                  <a:gd name="connsiteX34" fmla="*/ 1666115 w 4796240"/>
                  <a:gd name="connsiteY34" fmla="*/ 1277385 h 4048081"/>
                  <a:gd name="connsiteX35" fmla="*/ 1951099 w 4796240"/>
                  <a:gd name="connsiteY35" fmla="*/ 993211 h 4048081"/>
                  <a:gd name="connsiteX36" fmla="*/ 4149151 w 4796240"/>
                  <a:gd name="connsiteY36" fmla="*/ 245790 h 4048081"/>
                  <a:gd name="connsiteX37" fmla="*/ 4535400 w 4796240"/>
                  <a:gd name="connsiteY37" fmla="*/ 637055 h 4048081"/>
                  <a:gd name="connsiteX38" fmla="*/ 4149151 w 4796240"/>
                  <a:gd name="connsiteY38" fmla="*/ 1028320 h 4048081"/>
                  <a:gd name="connsiteX39" fmla="*/ 3762902 w 4796240"/>
                  <a:gd name="connsiteY39" fmla="*/ 637055 h 4048081"/>
                  <a:gd name="connsiteX40" fmla="*/ 4149151 w 4796240"/>
                  <a:gd name="connsiteY40" fmla="*/ 245790 h 4048081"/>
                  <a:gd name="connsiteX41" fmla="*/ 2423562 w 4796240"/>
                  <a:gd name="connsiteY41" fmla="*/ 0 h 4048081"/>
                  <a:gd name="connsiteX42" fmla="*/ 2875023 w 4796240"/>
                  <a:gd name="connsiteY42" fmla="*/ 453969 h 4048081"/>
                  <a:gd name="connsiteX43" fmla="*/ 2423562 w 4796240"/>
                  <a:gd name="connsiteY43" fmla="*/ 907938 h 4048081"/>
                  <a:gd name="connsiteX44" fmla="*/ 1972101 w 4796240"/>
                  <a:gd name="connsiteY44" fmla="*/ 453969 h 4048081"/>
                  <a:gd name="connsiteX45" fmla="*/ 2423562 w 4796240"/>
                  <a:gd name="connsiteY45"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2449249 h 4048081"/>
                  <a:gd name="connsiteX15" fmla="*/ 1108533 w 4796240"/>
                  <a:gd name="connsiteY15" fmla="*/ 2686214 h 4048081"/>
                  <a:gd name="connsiteX16" fmla="*/ 1108533 w 4796240"/>
                  <a:gd name="connsiteY16" fmla="*/ 3480046 h 4048081"/>
                  <a:gd name="connsiteX17" fmla="*/ 883815 w 4796240"/>
                  <a:gd name="connsiteY17" fmla="*/ 3717011 h 4048081"/>
                  <a:gd name="connsiteX18" fmla="*/ 528996 w 4796240"/>
                  <a:gd name="connsiteY18" fmla="*/ 3717011 h 4048081"/>
                  <a:gd name="connsiteX19" fmla="*/ 292451 w 4796240"/>
                  <a:gd name="connsiteY19" fmla="*/ 3480046 h 4048081"/>
                  <a:gd name="connsiteX20" fmla="*/ 292451 w 4796240"/>
                  <a:gd name="connsiteY20" fmla="*/ 2686214 h 4048081"/>
                  <a:gd name="connsiteX21" fmla="*/ 55905 w 4796240"/>
                  <a:gd name="connsiteY21" fmla="*/ 2449249 h 4048081"/>
                  <a:gd name="connsiteX22" fmla="*/ 1951099 w 4796240"/>
                  <a:gd name="connsiteY22" fmla="*/ 993211 h 4048081"/>
                  <a:gd name="connsiteX23" fmla="*/ 2901046 w 4796240"/>
                  <a:gd name="connsiteY23" fmla="*/ 993211 h 4048081"/>
                  <a:gd name="connsiteX24" fmla="*/ 3186030 w 4796240"/>
                  <a:gd name="connsiteY24" fmla="*/ 1277385 h 4048081"/>
                  <a:gd name="connsiteX25" fmla="*/ 3186030 w 4796240"/>
                  <a:gd name="connsiteY25" fmla="*/ 2568008 h 4048081"/>
                  <a:gd name="connsiteX26" fmla="*/ 2901046 w 4796240"/>
                  <a:gd name="connsiteY26" fmla="*/ 2852182 h 4048081"/>
                  <a:gd name="connsiteX27" fmla="*/ 2901046 w 4796240"/>
                  <a:gd name="connsiteY27" fmla="*/ 3763907 h 4048081"/>
                  <a:gd name="connsiteX28" fmla="*/ 2627936 w 4796240"/>
                  <a:gd name="connsiteY28" fmla="*/ 4048081 h 4048081"/>
                  <a:gd name="connsiteX29" fmla="*/ 2224209 w 4796240"/>
                  <a:gd name="connsiteY29" fmla="*/ 4048081 h 4048081"/>
                  <a:gd name="connsiteX30" fmla="*/ 1951099 w 4796240"/>
                  <a:gd name="connsiteY30" fmla="*/ 3763907 h 4048081"/>
                  <a:gd name="connsiteX31" fmla="*/ 1951099 w 4796240"/>
                  <a:gd name="connsiteY31" fmla="*/ 2852182 h 4048081"/>
                  <a:gd name="connsiteX32" fmla="*/ 1666115 w 4796240"/>
                  <a:gd name="connsiteY32" fmla="*/ 2568008 h 4048081"/>
                  <a:gd name="connsiteX33" fmla="*/ 1666115 w 4796240"/>
                  <a:gd name="connsiteY33" fmla="*/ 1277385 h 4048081"/>
                  <a:gd name="connsiteX34" fmla="*/ 1951099 w 4796240"/>
                  <a:gd name="connsiteY34" fmla="*/ 993211 h 4048081"/>
                  <a:gd name="connsiteX35" fmla="*/ 4149151 w 4796240"/>
                  <a:gd name="connsiteY35" fmla="*/ 245790 h 4048081"/>
                  <a:gd name="connsiteX36" fmla="*/ 4535400 w 4796240"/>
                  <a:gd name="connsiteY36" fmla="*/ 637055 h 4048081"/>
                  <a:gd name="connsiteX37" fmla="*/ 4149151 w 4796240"/>
                  <a:gd name="connsiteY37" fmla="*/ 1028320 h 4048081"/>
                  <a:gd name="connsiteX38" fmla="*/ 3762902 w 4796240"/>
                  <a:gd name="connsiteY38" fmla="*/ 637055 h 4048081"/>
                  <a:gd name="connsiteX39" fmla="*/ 4149151 w 4796240"/>
                  <a:gd name="connsiteY39" fmla="*/ 245790 h 4048081"/>
                  <a:gd name="connsiteX40" fmla="*/ 2423562 w 4796240"/>
                  <a:gd name="connsiteY40" fmla="*/ 0 h 4048081"/>
                  <a:gd name="connsiteX41" fmla="*/ 2875023 w 4796240"/>
                  <a:gd name="connsiteY41" fmla="*/ 453969 h 4048081"/>
                  <a:gd name="connsiteX42" fmla="*/ 2423562 w 4796240"/>
                  <a:gd name="connsiteY42" fmla="*/ 907938 h 4048081"/>
                  <a:gd name="connsiteX43" fmla="*/ 1972101 w 4796240"/>
                  <a:gd name="connsiteY43" fmla="*/ 453969 h 4048081"/>
                  <a:gd name="connsiteX44" fmla="*/ 2423562 w 4796240"/>
                  <a:gd name="connsiteY44"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49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49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50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50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447069 w 4503790"/>
                  <a:gd name="connsiteY0" fmla="*/ 1098549 h 4048081"/>
                  <a:gd name="connsiteX1" fmla="*/ 4266325 w 4503790"/>
                  <a:gd name="connsiteY1" fmla="*/ 1098549 h 4048081"/>
                  <a:gd name="connsiteX2" fmla="*/ 4503790 w 4503790"/>
                  <a:gd name="connsiteY2" fmla="*/ 1335514 h 4048081"/>
                  <a:gd name="connsiteX3" fmla="*/ 4503790 w 4503790"/>
                  <a:gd name="connsiteY3" fmla="*/ 2449249 h 4048081"/>
                  <a:gd name="connsiteX4" fmla="*/ 4266325 w 4503790"/>
                  <a:gd name="connsiteY4" fmla="*/ 2686214 h 4048081"/>
                  <a:gd name="connsiteX5" fmla="*/ 4266325 w 4503790"/>
                  <a:gd name="connsiteY5" fmla="*/ 3480046 h 4048081"/>
                  <a:gd name="connsiteX6" fmla="*/ 4028860 w 4503790"/>
                  <a:gd name="connsiteY6" fmla="*/ 3717011 h 4048081"/>
                  <a:gd name="connsiteX7" fmla="*/ 3672661 w 4503790"/>
                  <a:gd name="connsiteY7" fmla="*/ 3717011 h 4048081"/>
                  <a:gd name="connsiteX8" fmla="*/ 3447069 w 4503790"/>
                  <a:gd name="connsiteY8" fmla="*/ 3480046 h 4048081"/>
                  <a:gd name="connsiteX9" fmla="*/ 3447069 w 4503790"/>
                  <a:gd name="connsiteY9" fmla="*/ 2686214 h 4048081"/>
                  <a:gd name="connsiteX10" fmla="*/ 3209603 w 4503790"/>
                  <a:gd name="connsiteY10" fmla="*/ 2449249 h 4048081"/>
                  <a:gd name="connsiteX11" fmla="*/ 3209603 w 4503790"/>
                  <a:gd name="connsiteY11" fmla="*/ 1335514 h 4048081"/>
                  <a:gd name="connsiteX12" fmla="*/ 3447069 w 4503790"/>
                  <a:gd name="connsiteY12" fmla="*/ 1098549 h 4048081"/>
                  <a:gd name="connsiteX13" fmla="*/ 1 w 4503790"/>
                  <a:gd name="connsiteY13" fmla="*/ 2686214 h 4048081"/>
                  <a:gd name="connsiteX14" fmla="*/ 816083 w 4503790"/>
                  <a:gd name="connsiteY14" fmla="*/ 2686214 h 4048081"/>
                  <a:gd name="connsiteX15" fmla="*/ 816083 w 4503790"/>
                  <a:gd name="connsiteY15" fmla="*/ 3480046 h 4048081"/>
                  <a:gd name="connsiteX16" fmla="*/ 591365 w 4503790"/>
                  <a:gd name="connsiteY16" fmla="*/ 3717011 h 4048081"/>
                  <a:gd name="connsiteX17" fmla="*/ 236546 w 4503790"/>
                  <a:gd name="connsiteY17" fmla="*/ 3717011 h 4048081"/>
                  <a:gd name="connsiteX18" fmla="*/ 1 w 4503790"/>
                  <a:gd name="connsiteY18" fmla="*/ 3480046 h 4048081"/>
                  <a:gd name="connsiteX19" fmla="*/ 1 w 4503790"/>
                  <a:gd name="connsiteY19" fmla="*/ 2686214 h 4048081"/>
                  <a:gd name="connsiteX20" fmla="*/ 1658649 w 4503790"/>
                  <a:gd name="connsiteY20" fmla="*/ 993211 h 4048081"/>
                  <a:gd name="connsiteX21" fmla="*/ 2608596 w 4503790"/>
                  <a:gd name="connsiteY21" fmla="*/ 993211 h 4048081"/>
                  <a:gd name="connsiteX22" fmla="*/ 2893580 w 4503790"/>
                  <a:gd name="connsiteY22" fmla="*/ 1277385 h 4048081"/>
                  <a:gd name="connsiteX23" fmla="*/ 2893580 w 4503790"/>
                  <a:gd name="connsiteY23" fmla="*/ 2568008 h 4048081"/>
                  <a:gd name="connsiteX24" fmla="*/ 2608596 w 4503790"/>
                  <a:gd name="connsiteY24" fmla="*/ 2852182 h 4048081"/>
                  <a:gd name="connsiteX25" fmla="*/ 2608596 w 4503790"/>
                  <a:gd name="connsiteY25" fmla="*/ 3763907 h 4048081"/>
                  <a:gd name="connsiteX26" fmla="*/ 2335486 w 4503790"/>
                  <a:gd name="connsiteY26" fmla="*/ 4048081 h 4048081"/>
                  <a:gd name="connsiteX27" fmla="*/ 1931759 w 4503790"/>
                  <a:gd name="connsiteY27" fmla="*/ 4048081 h 4048081"/>
                  <a:gd name="connsiteX28" fmla="*/ 1658649 w 4503790"/>
                  <a:gd name="connsiteY28" fmla="*/ 3763907 h 4048081"/>
                  <a:gd name="connsiteX29" fmla="*/ 1658649 w 4503790"/>
                  <a:gd name="connsiteY29" fmla="*/ 2852182 h 4048081"/>
                  <a:gd name="connsiteX30" fmla="*/ 1373665 w 4503790"/>
                  <a:gd name="connsiteY30" fmla="*/ 2568008 h 4048081"/>
                  <a:gd name="connsiteX31" fmla="*/ 1373665 w 4503790"/>
                  <a:gd name="connsiteY31" fmla="*/ 1277385 h 4048081"/>
                  <a:gd name="connsiteX32" fmla="*/ 1658649 w 4503790"/>
                  <a:gd name="connsiteY32" fmla="*/ 993211 h 4048081"/>
                  <a:gd name="connsiteX33" fmla="*/ 3856701 w 4503790"/>
                  <a:gd name="connsiteY33" fmla="*/ 245790 h 4048081"/>
                  <a:gd name="connsiteX34" fmla="*/ 4242950 w 4503790"/>
                  <a:gd name="connsiteY34" fmla="*/ 637055 h 4048081"/>
                  <a:gd name="connsiteX35" fmla="*/ 3856701 w 4503790"/>
                  <a:gd name="connsiteY35" fmla="*/ 1028320 h 4048081"/>
                  <a:gd name="connsiteX36" fmla="*/ 3470452 w 4503790"/>
                  <a:gd name="connsiteY36" fmla="*/ 637055 h 4048081"/>
                  <a:gd name="connsiteX37" fmla="*/ 3856701 w 4503790"/>
                  <a:gd name="connsiteY37" fmla="*/ 245790 h 4048081"/>
                  <a:gd name="connsiteX38" fmla="*/ 2131112 w 4503790"/>
                  <a:gd name="connsiteY38" fmla="*/ 0 h 4048081"/>
                  <a:gd name="connsiteX39" fmla="*/ 2582573 w 4503790"/>
                  <a:gd name="connsiteY39" fmla="*/ 453969 h 4048081"/>
                  <a:gd name="connsiteX40" fmla="*/ 2131112 w 4503790"/>
                  <a:gd name="connsiteY40" fmla="*/ 907938 h 4048081"/>
                  <a:gd name="connsiteX41" fmla="*/ 1679651 w 4503790"/>
                  <a:gd name="connsiteY41" fmla="*/ 453969 h 4048081"/>
                  <a:gd name="connsiteX42" fmla="*/ 2131112 w 4503790"/>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72277 w 4528998"/>
                  <a:gd name="connsiteY0" fmla="*/ 1098549 h 4048081"/>
                  <a:gd name="connsiteX1" fmla="*/ 4291533 w 4528998"/>
                  <a:gd name="connsiteY1" fmla="*/ 1098549 h 4048081"/>
                  <a:gd name="connsiteX2" fmla="*/ 4528998 w 4528998"/>
                  <a:gd name="connsiteY2" fmla="*/ 1335514 h 4048081"/>
                  <a:gd name="connsiteX3" fmla="*/ 4528998 w 4528998"/>
                  <a:gd name="connsiteY3" fmla="*/ 2449249 h 4048081"/>
                  <a:gd name="connsiteX4" fmla="*/ 4291533 w 4528998"/>
                  <a:gd name="connsiteY4" fmla="*/ 2686214 h 4048081"/>
                  <a:gd name="connsiteX5" fmla="*/ 4291533 w 4528998"/>
                  <a:gd name="connsiteY5" fmla="*/ 3480046 h 4048081"/>
                  <a:gd name="connsiteX6" fmla="*/ 4054068 w 4528998"/>
                  <a:gd name="connsiteY6" fmla="*/ 3717011 h 4048081"/>
                  <a:gd name="connsiteX7" fmla="*/ 3697869 w 4528998"/>
                  <a:gd name="connsiteY7" fmla="*/ 3717011 h 4048081"/>
                  <a:gd name="connsiteX8" fmla="*/ 3472277 w 4528998"/>
                  <a:gd name="connsiteY8" fmla="*/ 3480046 h 4048081"/>
                  <a:gd name="connsiteX9" fmla="*/ 3472277 w 4528998"/>
                  <a:gd name="connsiteY9" fmla="*/ 2686214 h 4048081"/>
                  <a:gd name="connsiteX10" fmla="*/ 3234811 w 4528998"/>
                  <a:gd name="connsiteY10" fmla="*/ 2449249 h 4048081"/>
                  <a:gd name="connsiteX11" fmla="*/ 3234811 w 4528998"/>
                  <a:gd name="connsiteY11" fmla="*/ 1335514 h 4048081"/>
                  <a:gd name="connsiteX12" fmla="*/ 3472277 w 4528998"/>
                  <a:gd name="connsiteY12" fmla="*/ 1098549 h 4048081"/>
                  <a:gd name="connsiteX13" fmla="*/ 25209 w 4528998"/>
                  <a:gd name="connsiteY13" fmla="*/ 3480046 h 4048081"/>
                  <a:gd name="connsiteX14" fmla="*/ 841291 w 4528998"/>
                  <a:gd name="connsiteY14" fmla="*/ 2686214 h 4048081"/>
                  <a:gd name="connsiteX15" fmla="*/ 841291 w 4528998"/>
                  <a:gd name="connsiteY15" fmla="*/ 3480046 h 4048081"/>
                  <a:gd name="connsiteX16" fmla="*/ 616573 w 4528998"/>
                  <a:gd name="connsiteY16" fmla="*/ 3717011 h 4048081"/>
                  <a:gd name="connsiteX17" fmla="*/ 261754 w 4528998"/>
                  <a:gd name="connsiteY17" fmla="*/ 3717011 h 4048081"/>
                  <a:gd name="connsiteX18" fmla="*/ 25209 w 4528998"/>
                  <a:gd name="connsiteY18" fmla="*/ 3480046 h 4048081"/>
                  <a:gd name="connsiteX19" fmla="*/ 1683857 w 4528998"/>
                  <a:gd name="connsiteY19" fmla="*/ 993211 h 4048081"/>
                  <a:gd name="connsiteX20" fmla="*/ 2633804 w 4528998"/>
                  <a:gd name="connsiteY20" fmla="*/ 993211 h 4048081"/>
                  <a:gd name="connsiteX21" fmla="*/ 2918788 w 4528998"/>
                  <a:gd name="connsiteY21" fmla="*/ 1277385 h 4048081"/>
                  <a:gd name="connsiteX22" fmla="*/ 2918788 w 4528998"/>
                  <a:gd name="connsiteY22" fmla="*/ 2568008 h 4048081"/>
                  <a:gd name="connsiteX23" fmla="*/ 2633804 w 4528998"/>
                  <a:gd name="connsiteY23" fmla="*/ 2852182 h 4048081"/>
                  <a:gd name="connsiteX24" fmla="*/ 2633804 w 4528998"/>
                  <a:gd name="connsiteY24" fmla="*/ 3763907 h 4048081"/>
                  <a:gd name="connsiteX25" fmla="*/ 2360694 w 4528998"/>
                  <a:gd name="connsiteY25" fmla="*/ 4048081 h 4048081"/>
                  <a:gd name="connsiteX26" fmla="*/ 1956967 w 4528998"/>
                  <a:gd name="connsiteY26" fmla="*/ 4048081 h 4048081"/>
                  <a:gd name="connsiteX27" fmla="*/ 1683857 w 4528998"/>
                  <a:gd name="connsiteY27" fmla="*/ 3763907 h 4048081"/>
                  <a:gd name="connsiteX28" fmla="*/ 1683857 w 4528998"/>
                  <a:gd name="connsiteY28" fmla="*/ 2852182 h 4048081"/>
                  <a:gd name="connsiteX29" fmla="*/ 1398873 w 4528998"/>
                  <a:gd name="connsiteY29" fmla="*/ 2568008 h 4048081"/>
                  <a:gd name="connsiteX30" fmla="*/ 1398873 w 4528998"/>
                  <a:gd name="connsiteY30" fmla="*/ 1277385 h 4048081"/>
                  <a:gd name="connsiteX31" fmla="*/ 1683857 w 4528998"/>
                  <a:gd name="connsiteY31" fmla="*/ 993211 h 4048081"/>
                  <a:gd name="connsiteX32" fmla="*/ 3881909 w 4528998"/>
                  <a:gd name="connsiteY32" fmla="*/ 245790 h 4048081"/>
                  <a:gd name="connsiteX33" fmla="*/ 4268158 w 4528998"/>
                  <a:gd name="connsiteY33" fmla="*/ 637055 h 4048081"/>
                  <a:gd name="connsiteX34" fmla="*/ 3881909 w 4528998"/>
                  <a:gd name="connsiteY34" fmla="*/ 1028320 h 4048081"/>
                  <a:gd name="connsiteX35" fmla="*/ 3495660 w 4528998"/>
                  <a:gd name="connsiteY35" fmla="*/ 637055 h 4048081"/>
                  <a:gd name="connsiteX36" fmla="*/ 3881909 w 4528998"/>
                  <a:gd name="connsiteY36" fmla="*/ 245790 h 4048081"/>
                  <a:gd name="connsiteX37" fmla="*/ 2156320 w 4528998"/>
                  <a:gd name="connsiteY37" fmla="*/ 0 h 4048081"/>
                  <a:gd name="connsiteX38" fmla="*/ 2607781 w 4528998"/>
                  <a:gd name="connsiteY38" fmla="*/ 453969 h 4048081"/>
                  <a:gd name="connsiteX39" fmla="*/ 2156320 w 4528998"/>
                  <a:gd name="connsiteY39" fmla="*/ 907938 h 4048081"/>
                  <a:gd name="connsiteX40" fmla="*/ 1704859 w 4528998"/>
                  <a:gd name="connsiteY40" fmla="*/ 453969 h 4048081"/>
                  <a:gd name="connsiteX41" fmla="*/ 2156320 w 4528998"/>
                  <a:gd name="connsiteY41" fmla="*/ 0 h 4048081"/>
                  <a:gd name="connsiteX0" fmla="*/ 3214011 w 4270732"/>
                  <a:gd name="connsiteY0" fmla="*/ 1098549 h 4048081"/>
                  <a:gd name="connsiteX1" fmla="*/ 4033267 w 4270732"/>
                  <a:gd name="connsiteY1" fmla="*/ 1098549 h 4048081"/>
                  <a:gd name="connsiteX2" fmla="*/ 4270732 w 4270732"/>
                  <a:gd name="connsiteY2" fmla="*/ 1335514 h 4048081"/>
                  <a:gd name="connsiteX3" fmla="*/ 4270732 w 4270732"/>
                  <a:gd name="connsiteY3" fmla="*/ 2449249 h 4048081"/>
                  <a:gd name="connsiteX4" fmla="*/ 4033267 w 4270732"/>
                  <a:gd name="connsiteY4" fmla="*/ 2686214 h 4048081"/>
                  <a:gd name="connsiteX5" fmla="*/ 4033267 w 4270732"/>
                  <a:gd name="connsiteY5" fmla="*/ 3480046 h 4048081"/>
                  <a:gd name="connsiteX6" fmla="*/ 3795802 w 4270732"/>
                  <a:gd name="connsiteY6" fmla="*/ 3717011 h 4048081"/>
                  <a:gd name="connsiteX7" fmla="*/ 3439603 w 4270732"/>
                  <a:gd name="connsiteY7" fmla="*/ 3717011 h 4048081"/>
                  <a:gd name="connsiteX8" fmla="*/ 3214011 w 4270732"/>
                  <a:gd name="connsiteY8" fmla="*/ 3480046 h 4048081"/>
                  <a:gd name="connsiteX9" fmla="*/ 3214011 w 4270732"/>
                  <a:gd name="connsiteY9" fmla="*/ 2686214 h 4048081"/>
                  <a:gd name="connsiteX10" fmla="*/ 2976545 w 4270732"/>
                  <a:gd name="connsiteY10" fmla="*/ 2449249 h 4048081"/>
                  <a:gd name="connsiteX11" fmla="*/ 2976545 w 4270732"/>
                  <a:gd name="connsiteY11" fmla="*/ 1335514 h 4048081"/>
                  <a:gd name="connsiteX12" fmla="*/ 3214011 w 4270732"/>
                  <a:gd name="connsiteY12" fmla="*/ 1098549 h 4048081"/>
                  <a:gd name="connsiteX13" fmla="*/ 3488 w 4270732"/>
                  <a:gd name="connsiteY13" fmla="*/ 3717011 h 4048081"/>
                  <a:gd name="connsiteX14" fmla="*/ 583025 w 4270732"/>
                  <a:gd name="connsiteY14" fmla="*/ 2686214 h 4048081"/>
                  <a:gd name="connsiteX15" fmla="*/ 583025 w 4270732"/>
                  <a:gd name="connsiteY15" fmla="*/ 3480046 h 4048081"/>
                  <a:gd name="connsiteX16" fmla="*/ 358307 w 4270732"/>
                  <a:gd name="connsiteY16" fmla="*/ 3717011 h 4048081"/>
                  <a:gd name="connsiteX17" fmla="*/ 3488 w 4270732"/>
                  <a:gd name="connsiteY17" fmla="*/ 3717011 h 4048081"/>
                  <a:gd name="connsiteX18" fmla="*/ 1425591 w 4270732"/>
                  <a:gd name="connsiteY18" fmla="*/ 993211 h 4048081"/>
                  <a:gd name="connsiteX19" fmla="*/ 2375538 w 4270732"/>
                  <a:gd name="connsiteY19" fmla="*/ 993211 h 4048081"/>
                  <a:gd name="connsiteX20" fmla="*/ 2660522 w 4270732"/>
                  <a:gd name="connsiteY20" fmla="*/ 1277385 h 4048081"/>
                  <a:gd name="connsiteX21" fmla="*/ 2660522 w 4270732"/>
                  <a:gd name="connsiteY21" fmla="*/ 2568008 h 4048081"/>
                  <a:gd name="connsiteX22" fmla="*/ 2375538 w 4270732"/>
                  <a:gd name="connsiteY22" fmla="*/ 2852182 h 4048081"/>
                  <a:gd name="connsiteX23" fmla="*/ 2375538 w 4270732"/>
                  <a:gd name="connsiteY23" fmla="*/ 3763907 h 4048081"/>
                  <a:gd name="connsiteX24" fmla="*/ 2102428 w 4270732"/>
                  <a:gd name="connsiteY24" fmla="*/ 4048081 h 4048081"/>
                  <a:gd name="connsiteX25" fmla="*/ 1698701 w 4270732"/>
                  <a:gd name="connsiteY25" fmla="*/ 4048081 h 4048081"/>
                  <a:gd name="connsiteX26" fmla="*/ 1425591 w 4270732"/>
                  <a:gd name="connsiteY26" fmla="*/ 3763907 h 4048081"/>
                  <a:gd name="connsiteX27" fmla="*/ 1425591 w 4270732"/>
                  <a:gd name="connsiteY27" fmla="*/ 2852182 h 4048081"/>
                  <a:gd name="connsiteX28" fmla="*/ 1140607 w 4270732"/>
                  <a:gd name="connsiteY28" fmla="*/ 2568008 h 4048081"/>
                  <a:gd name="connsiteX29" fmla="*/ 1140607 w 4270732"/>
                  <a:gd name="connsiteY29" fmla="*/ 1277385 h 4048081"/>
                  <a:gd name="connsiteX30" fmla="*/ 1425591 w 4270732"/>
                  <a:gd name="connsiteY30" fmla="*/ 993211 h 4048081"/>
                  <a:gd name="connsiteX31" fmla="*/ 3623643 w 4270732"/>
                  <a:gd name="connsiteY31" fmla="*/ 245790 h 4048081"/>
                  <a:gd name="connsiteX32" fmla="*/ 4009892 w 4270732"/>
                  <a:gd name="connsiteY32" fmla="*/ 637055 h 4048081"/>
                  <a:gd name="connsiteX33" fmla="*/ 3623643 w 4270732"/>
                  <a:gd name="connsiteY33" fmla="*/ 1028320 h 4048081"/>
                  <a:gd name="connsiteX34" fmla="*/ 3237394 w 4270732"/>
                  <a:gd name="connsiteY34" fmla="*/ 637055 h 4048081"/>
                  <a:gd name="connsiteX35" fmla="*/ 3623643 w 4270732"/>
                  <a:gd name="connsiteY35" fmla="*/ 245790 h 4048081"/>
                  <a:gd name="connsiteX36" fmla="*/ 1898054 w 4270732"/>
                  <a:gd name="connsiteY36" fmla="*/ 0 h 4048081"/>
                  <a:gd name="connsiteX37" fmla="*/ 2349515 w 4270732"/>
                  <a:gd name="connsiteY37" fmla="*/ 453969 h 4048081"/>
                  <a:gd name="connsiteX38" fmla="*/ 1898054 w 4270732"/>
                  <a:gd name="connsiteY38" fmla="*/ 907938 h 4048081"/>
                  <a:gd name="connsiteX39" fmla="*/ 1446593 w 4270732"/>
                  <a:gd name="connsiteY39" fmla="*/ 453969 h 4048081"/>
                  <a:gd name="connsiteX40" fmla="*/ 1898054 w 4270732"/>
                  <a:gd name="connsiteY40" fmla="*/ 0 h 4048081"/>
                  <a:gd name="connsiteX0" fmla="*/ 2855704 w 3912425"/>
                  <a:gd name="connsiteY0" fmla="*/ 1098549 h 4048081"/>
                  <a:gd name="connsiteX1" fmla="*/ 3674960 w 3912425"/>
                  <a:gd name="connsiteY1" fmla="*/ 1098549 h 4048081"/>
                  <a:gd name="connsiteX2" fmla="*/ 3912425 w 3912425"/>
                  <a:gd name="connsiteY2" fmla="*/ 1335514 h 4048081"/>
                  <a:gd name="connsiteX3" fmla="*/ 3912425 w 3912425"/>
                  <a:gd name="connsiteY3" fmla="*/ 2449249 h 4048081"/>
                  <a:gd name="connsiteX4" fmla="*/ 3674960 w 3912425"/>
                  <a:gd name="connsiteY4" fmla="*/ 2686214 h 4048081"/>
                  <a:gd name="connsiteX5" fmla="*/ 3674960 w 3912425"/>
                  <a:gd name="connsiteY5" fmla="*/ 3480046 h 4048081"/>
                  <a:gd name="connsiteX6" fmla="*/ 3437495 w 3912425"/>
                  <a:gd name="connsiteY6" fmla="*/ 3717011 h 4048081"/>
                  <a:gd name="connsiteX7" fmla="*/ 3081296 w 3912425"/>
                  <a:gd name="connsiteY7" fmla="*/ 3717011 h 4048081"/>
                  <a:gd name="connsiteX8" fmla="*/ 2855704 w 3912425"/>
                  <a:gd name="connsiteY8" fmla="*/ 3480046 h 4048081"/>
                  <a:gd name="connsiteX9" fmla="*/ 2855704 w 3912425"/>
                  <a:gd name="connsiteY9" fmla="*/ 2686214 h 4048081"/>
                  <a:gd name="connsiteX10" fmla="*/ 2618238 w 3912425"/>
                  <a:gd name="connsiteY10" fmla="*/ 2449249 h 4048081"/>
                  <a:gd name="connsiteX11" fmla="*/ 2618238 w 3912425"/>
                  <a:gd name="connsiteY11" fmla="*/ 1335514 h 4048081"/>
                  <a:gd name="connsiteX12" fmla="*/ 2855704 w 3912425"/>
                  <a:gd name="connsiteY12" fmla="*/ 1098549 h 4048081"/>
                  <a:gd name="connsiteX13" fmla="*/ 0 w 3912425"/>
                  <a:gd name="connsiteY13" fmla="*/ 3717011 h 4048081"/>
                  <a:gd name="connsiteX14" fmla="*/ 224718 w 3912425"/>
                  <a:gd name="connsiteY14" fmla="*/ 2686214 h 4048081"/>
                  <a:gd name="connsiteX15" fmla="*/ 224718 w 3912425"/>
                  <a:gd name="connsiteY15" fmla="*/ 3480046 h 4048081"/>
                  <a:gd name="connsiteX16" fmla="*/ 0 w 3912425"/>
                  <a:gd name="connsiteY16" fmla="*/ 3717011 h 4048081"/>
                  <a:gd name="connsiteX17" fmla="*/ 1067284 w 3912425"/>
                  <a:gd name="connsiteY17" fmla="*/ 993211 h 4048081"/>
                  <a:gd name="connsiteX18" fmla="*/ 2017231 w 3912425"/>
                  <a:gd name="connsiteY18" fmla="*/ 993211 h 4048081"/>
                  <a:gd name="connsiteX19" fmla="*/ 2302215 w 3912425"/>
                  <a:gd name="connsiteY19" fmla="*/ 1277385 h 4048081"/>
                  <a:gd name="connsiteX20" fmla="*/ 2302215 w 3912425"/>
                  <a:gd name="connsiteY20" fmla="*/ 2568008 h 4048081"/>
                  <a:gd name="connsiteX21" fmla="*/ 2017231 w 3912425"/>
                  <a:gd name="connsiteY21" fmla="*/ 2852182 h 4048081"/>
                  <a:gd name="connsiteX22" fmla="*/ 2017231 w 3912425"/>
                  <a:gd name="connsiteY22" fmla="*/ 3763907 h 4048081"/>
                  <a:gd name="connsiteX23" fmla="*/ 1744121 w 3912425"/>
                  <a:gd name="connsiteY23" fmla="*/ 4048081 h 4048081"/>
                  <a:gd name="connsiteX24" fmla="*/ 1340394 w 3912425"/>
                  <a:gd name="connsiteY24" fmla="*/ 4048081 h 4048081"/>
                  <a:gd name="connsiteX25" fmla="*/ 1067284 w 3912425"/>
                  <a:gd name="connsiteY25" fmla="*/ 3763907 h 4048081"/>
                  <a:gd name="connsiteX26" fmla="*/ 1067284 w 3912425"/>
                  <a:gd name="connsiteY26" fmla="*/ 2852182 h 4048081"/>
                  <a:gd name="connsiteX27" fmla="*/ 782300 w 3912425"/>
                  <a:gd name="connsiteY27" fmla="*/ 2568008 h 4048081"/>
                  <a:gd name="connsiteX28" fmla="*/ 782300 w 3912425"/>
                  <a:gd name="connsiteY28" fmla="*/ 1277385 h 4048081"/>
                  <a:gd name="connsiteX29" fmla="*/ 1067284 w 3912425"/>
                  <a:gd name="connsiteY29" fmla="*/ 993211 h 4048081"/>
                  <a:gd name="connsiteX30" fmla="*/ 3265336 w 3912425"/>
                  <a:gd name="connsiteY30" fmla="*/ 245790 h 4048081"/>
                  <a:gd name="connsiteX31" fmla="*/ 3651585 w 3912425"/>
                  <a:gd name="connsiteY31" fmla="*/ 637055 h 4048081"/>
                  <a:gd name="connsiteX32" fmla="*/ 3265336 w 3912425"/>
                  <a:gd name="connsiteY32" fmla="*/ 1028320 h 4048081"/>
                  <a:gd name="connsiteX33" fmla="*/ 2879087 w 3912425"/>
                  <a:gd name="connsiteY33" fmla="*/ 637055 h 4048081"/>
                  <a:gd name="connsiteX34" fmla="*/ 3265336 w 3912425"/>
                  <a:gd name="connsiteY34" fmla="*/ 245790 h 4048081"/>
                  <a:gd name="connsiteX35" fmla="*/ 1539747 w 3912425"/>
                  <a:gd name="connsiteY35" fmla="*/ 0 h 4048081"/>
                  <a:gd name="connsiteX36" fmla="*/ 1991208 w 3912425"/>
                  <a:gd name="connsiteY36" fmla="*/ 453969 h 4048081"/>
                  <a:gd name="connsiteX37" fmla="*/ 1539747 w 3912425"/>
                  <a:gd name="connsiteY37" fmla="*/ 907938 h 4048081"/>
                  <a:gd name="connsiteX38" fmla="*/ 1088286 w 3912425"/>
                  <a:gd name="connsiteY38" fmla="*/ 453969 h 4048081"/>
                  <a:gd name="connsiteX39" fmla="*/ 1539747 w 3912425"/>
                  <a:gd name="connsiteY39"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0 w 3687707"/>
                  <a:gd name="connsiteY13" fmla="*/ 3480046 h 4048081"/>
                  <a:gd name="connsiteX14" fmla="*/ 0 w 3687707"/>
                  <a:gd name="connsiteY14" fmla="*/ 2686214 h 4048081"/>
                  <a:gd name="connsiteX15" fmla="*/ 0 w 3687707"/>
                  <a:gd name="connsiteY15" fmla="*/ 3480046 h 4048081"/>
                  <a:gd name="connsiteX16" fmla="*/ 842566 w 3687707"/>
                  <a:gd name="connsiteY16" fmla="*/ 993211 h 4048081"/>
                  <a:gd name="connsiteX17" fmla="*/ 1792513 w 3687707"/>
                  <a:gd name="connsiteY17" fmla="*/ 993211 h 4048081"/>
                  <a:gd name="connsiteX18" fmla="*/ 2077497 w 3687707"/>
                  <a:gd name="connsiteY18" fmla="*/ 1277385 h 4048081"/>
                  <a:gd name="connsiteX19" fmla="*/ 2077497 w 3687707"/>
                  <a:gd name="connsiteY19" fmla="*/ 2568008 h 4048081"/>
                  <a:gd name="connsiteX20" fmla="*/ 1792513 w 3687707"/>
                  <a:gd name="connsiteY20" fmla="*/ 2852182 h 4048081"/>
                  <a:gd name="connsiteX21" fmla="*/ 1792513 w 3687707"/>
                  <a:gd name="connsiteY21" fmla="*/ 3763907 h 4048081"/>
                  <a:gd name="connsiteX22" fmla="*/ 1519403 w 3687707"/>
                  <a:gd name="connsiteY22" fmla="*/ 4048081 h 4048081"/>
                  <a:gd name="connsiteX23" fmla="*/ 1115676 w 3687707"/>
                  <a:gd name="connsiteY23" fmla="*/ 4048081 h 4048081"/>
                  <a:gd name="connsiteX24" fmla="*/ 842566 w 3687707"/>
                  <a:gd name="connsiteY24" fmla="*/ 3763907 h 4048081"/>
                  <a:gd name="connsiteX25" fmla="*/ 842566 w 3687707"/>
                  <a:gd name="connsiteY25" fmla="*/ 2852182 h 4048081"/>
                  <a:gd name="connsiteX26" fmla="*/ 557582 w 3687707"/>
                  <a:gd name="connsiteY26" fmla="*/ 2568008 h 4048081"/>
                  <a:gd name="connsiteX27" fmla="*/ 557582 w 3687707"/>
                  <a:gd name="connsiteY27" fmla="*/ 1277385 h 4048081"/>
                  <a:gd name="connsiteX28" fmla="*/ 842566 w 3687707"/>
                  <a:gd name="connsiteY28" fmla="*/ 993211 h 4048081"/>
                  <a:gd name="connsiteX29" fmla="*/ 3040618 w 3687707"/>
                  <a:gd name="connsiteY29" fmla="*/ 245790 h 4048081"/>
                  <a:gd name="connsiteX30" fmla="*/ 3426867 w 3687707"/>
                  <a:gd name="connsiteY30" fmla="*/ 637055 h 4048081"/>
                  <a:gd name="connsiteX31" fmla="*/ 3040618 w 3687707"/>
                  <a:gd name="connsiteY31" fmla="*/ 1028320 h 4048081"/>
                  <a:gd name="connsiteX32" fmla="*/ 2654369 w 3687707"/>
                  <a:gd name="connsiteY32" fmla="*/ 637055 h 4048081"/>
                  <a:gd name="connsiteX33" fmla="*/ 3040618 w 3687707"/>
                  <a:gd name="connsiteY33" fmla="*/ 245790 h 4048081"/>
                  <a:gd name="connsiteX34" fmla="*/ 1315029 w 3687707"/>
                  <a:gd name="connsiteY34" fmla="*/ 0 h 4048081"/>
                  <a:gd name="connsiteX35" fmla="*/ 1766490 w 3687707"/>
                  <a:gd name="connsiteY35" fmla="*/ 453969 h 4048081"/>
                  <a:gd name="connsiteX36" fmla="*/ 1315029 w 3687707"/>
                  <a:gd name="connsiteY36" fmla="*/ 907938 h 4048081"/>
                  <a:gd name="connsiteX37" fmla="*/ 863568 w 3687707"/>
                  <a:gd name="connsiteY37" fmla="*/ 453969 h 4048081"/>
                  <a:gd name="connsiteX38" fmla="*/ 1315029 w 3687707"/>
                  <a:gd name="connsiteY38"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483035 w 3130124"/>
                  <a:gd name="connsiteY26" fmla="*/ 245790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2483035 w 3130124"/>
                  <a:gd name="connsiteY30" fmla="*/ 245790 h 4048081"/>
                  <a:gd name="connsiteX31" fmla="*/ 757446 w 3130124"/>
                  <a:gd name="connsiteY31" fmla="*/ 0 h 4048081"/>
                  <a:gd name="connsiteX32" fmla="*/ 1208907 w 3130124"/>
                  <a:gd name="connsiteY32" fmla="*/ 453969 h 4048081"/>
                  <a:gd name="connsiteX33" fmla="*/ 757446 w 3130124"/>
                  <a:gd name="connsiteY33" fmla="*/ 907938 h 4048081"/>
                  <a:gd name="connsiteX34" fmla="*/ 305985 w 3130124"/>
                  <a:gd name="connsiteY34" fmla="*/ 453969 h 4048081"/>
                  <a:gd name="connsiteX35" fmla="*/ 757446 w 3130124"/>
                  <a:gd name="connsiteY35"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757446 w 3130124"/>
                  <a:gd name="connsiteY30" fmla="*/ 0 h 4048081"/>
                  <a:gd name="connsiteX31" fmla="*/ 1208907 w 3130124"/>
                  <a:gd name="connsiteY31" fmla="*/ 453969 h 4048081"/>
                  <a:gd name="connsiteX32" fmla="*/ 757446 w 3130124"/>
                  <a:gd name="connsiteY32" fmla="*/ 907938 h 4048081"/>
                  <a:gd name="connsiteX33" fmla="*/ 305985 w 3130124"/>
                  <a:gd name="connsiteY33" fmla="*/ 453969 h 4048081"/>
                  <a:gd name="connsiteX34" fmla="*/ 757446 w 3130124"/>
                  <a:gd name="connsiteY34"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483035 w 3130124"/>
                  <a:gd name="connsiteY27" fmla="*/ 1028320 h 4048081"/>
                  <a:gd name="connsiteX28" fmla="*/ 2096786 w 3130124"/>
                  <a:gd name="connsiteY28" fmla="*/ 637055 h 4048081"/>
                  <a:gd name="connsiteX29" fmla="*/ 757446 w 3130124"/>
                  <a:gd name="connsiteY29" fmla="*/ 0 h 4048081"/>
                  <a:gd name="connsiteX30" fmla="*/ 1208907 w 3130124"/>
                  <a:gd name="connsiteY30" fmla="*/ 453969 h 4048081"/>
                  <a:gd name="connsiteX31" fmla="*/ 757446 w 3130124"/>
                  <a:gd name="connsiteY31" fmla="*/ 907938 h 4048081"/>
                  <a:gd name="connsiteX32" fmla="*/ 305985 w 3130124"/>
                  <a:gd name="connsiteY32" fmla="*/ 453969 h 4048081"/>
                  <a:gd name="connsiteX33" fmla="*/ 757446 w 3130124"/>
                  <a:gd name="connsiteY33"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757446 w 3130124"/>
                  <a:gd name="connsiteY26" fmla="*/ 0 h 4048081"/>
                  <a:gd name="connsiteX27" fmla="*/ 1208907 w 3130124"/>
                  <a:gd name="connsiteY27" fmla="*/ 453969 h 4048081"/>
                  <a:gd name="connsiteX28" fmla="*/ 757446 w 3130124"/>
                  <a:gd name="connsiteY28" fmla="*/ 907938 h 4048081"/>
                  <a:gd name="connsiteX29" fmla="*/ 305985 w 3130124"/>
                  <a:gd name="connsiteY29" fmla="*/ 453969 h 4048081"/>
                  <a:gd name="connsiteX30" fmla="*/ 757446 w 3130124"/>
                  <a:gd name="connsiteY30" fmla="*/ 0 h 4048081"/>
                  <a:gd name="connsiteX0" fmla="*/ 2073403 w 3130124"/>
                  <a:gd name="connsiteY0" fmla="*/ 1098549 h 4048081"/>
                  <a:gd name="connsiteX1" fmla="*/ 3130124 w 3130124"/>
                  <a:gd name="connsiteY1" fmla="*/ 1335514 h 4048081"/>
                  <a:gd name="connsiteX2" fmla="*/ 3130124 w 3130124"/>
                  <a:gd name="connsiteY2" fmla="*/ 2449249 h 4048081"/>
                  <a:gd name="connsiteX3" fmla="*/ 2892659 w 3130124"/>
                  <a:gd name="connsiteY3" fmla="*/ 2686214 h 4048081"/>
                  <a:gd name="connsiteX4" fmla="*/ 2892659 w 3130124"/>
                  <a:gd name="connsiteY4" fmla="*/ 3480046 h 4048081"/>
                  <a:gd name="connsiteX5" fmla="*/ 2655194 w 3130124"/>
                  <a:gd name="connsiteY5" fmla="*/ 3717011 h 4048081"/>
                  <a:gd name="connsiteX6" fmla="*/ 2298995 w 3130124"/>
                  <a:gd name="connsiteY6" fmla="*/ 3717011 h 4048081"/>
                  <a:gd name="connsiteX7" fmla="*/ 2073403 w 3130124"/>
                  <a:gd name="connsiteY7" fmla="*/ 3480046 h 4048081"/>
                  <a:gd name="connsiteX8" fmla="*/ 2073403 w 3130124"/>
                  <a:gd name="connsiteY8" fmla="*/ 2686214 h 4048081"/>
                  <a:gd name="connsiteX9" fmla="*/ 1835937 w 3130124"/>
                  <a:gd name="connsiteY9" fmla="*/ 2449249 h 4048081"/>
                  <a:gd name="connsiteX10" fmla="*/ 1835937 w 3130124"/>
                  <a:gd name="connsiteY10" fmla="*/ 1335514 h 4048081"/>
                  <a:gd name="connsiteX11" fmla="*/ 2073403 w 3130124"/>
                  <a:gd name="connsiteY11" fmla="*/ 1098549 h 4048081"/>
                  <a:gd name="connsiteX12" fmla="*/ 284983 w 3130124"/>
                  <a:gd name="connsiteY12" fmla="*/ 993211 h 4048081"/>
                  <a:gd name="connsiteX13" fmla="*/ 1234930 w 3130124"/>
                  <a:gd name="connsiteY13" fmla="*/ 993211 h 4048081"/>
                  <a:gd name="connsiteX14" fmla="*/ 1519914 w 3130124"/>
                  <a:gd name="connsiteY14" fmla="*/ 1277385 h 4048081"/>
                  <a:gd name="connsiteX15" fmla="*/ 1519914 w 3130124"/>
                  <a:gd name="connsiteY15" fmla="*/ 2568008 h 4048081"/>
                  <a:gd name="connsiteX16" fmla="*/ 1234930 w 3130124"/>
                  <a:gd name="connsiteY16" fmla="*/ 2852182 h 4048081"/>
                  <a:gd name="connsiteX17" fmla="*/ 1234930 w 3130124"/>
                  <a:gd name="connsiteY17" fmla="*/ 3763907 h 4048081"/>
                  <a:gd name="connsiteX18" fmla="*/ 961820 w 3130124"/>
                  <a:gd name="connsiteY18" fmla="*/ 4048081 h 4048081"/>
                  <a:gd name="connsiteX19" fmla="*/ 558093 w 3130124"/>
                  <a:gd name="connsiteY19" fmla="*/ 4048081 h 4048081"/>
                  <a:gd name="connsiteX20" fmla="*/ 284983 w 3130124"/>
                  <a:gd name="connsiteY20" fmla="*/ 3763907 h 4048081"/>
                  <a:gd name="connsiteX21" fmla="*/ 284983 w 3130124"/>
                  <a:gd name="connsiteY21" fmla="*/ 2852182 h 4048081"/>
                  <a:gd name="connsiteX22" fmla="*/ -1 w 3130124"/>
                  <a:gd name="connsiteY22" fmla="*/ 2568008 h 4048081"/>
                  <a:gd name="connsiteX23" fmla="*/ -1 w 3130124"/>
                  <a:gd name="connsiteY23" fmla="*/ 1277385 h 4048081"/>
                  <a:gd name="connsiteX24" fmla="*/ 284983 w 3130124"/>
                  <a:gd name="connsiteY24" fmla="*/ 993211 h 4048081"/>
                  <a:gd name="connsiteX25" fmla="*/ 757446 w 3130124"/>
                  <a:gd name="connsiteY25" fmla="*/ 0 h 4048081"/>
                  <a:gd name="connsiteX26" fmla="*/ 1208907 w 3130124"/>
                  <a:gd name="connsiteY26" fmla="*/ 453969 h 4048081"/>
                  <a:gd name="connsiteX27" fmla="*/ 757446 w 3130124"/>
                  <a:gd name="connsiteY27" fmla="*/ 907938 h 4048081"/>
                  <a:gd name="connsiteX28" fmla="*/ 305985 w 3130124"/>
                  <a:gd name="connsiteY28" fmla="*/ 453969 h 4048081"/>
                  <a:gd name="connsiteX29" fmla="*/ 757446 w 3130124"/>
                  <a:gd name="connsiteY29" fmla="*/ 0 h 4048081"/>
                  <a:gd name="connsiteX0" fmla="*/ 2073403 w 3130124"/>
                  <a:gd name="connsiteY0" fmla="*/ 1098549 h 4048081"/>
                  <a:gd name="connsiteX1" fmla="*/ 3130124 w 3130124"/>
                  <a:gd name="connsiteY1" fmla="*/ 2449249 h 4048081"/>
                  <a:gd name="connsiteX2" fmla="*/ 2892659 w 3130124"/>
                  <a:gd name="connsiteY2" fmla="*/ 2686214 h 4048081"/>
                  <a:gd name="connsiteX3" fmla="*/ 2892659 w 3130124"/>
                  <a:gd name="connsiteY3" fmla="*/ 3480046 h 4048081"/>
                  <a:gd name="connsiteX4" fmla="*/ 2655194 w 3130124"/>
                  <a:gd name="connsiteY4" fmla="*/ 3717011 h 4048081"/>
                  <a:gd name="connsiteX5" fmla="*/ 2298995 w 3130124"/>
                  <a:gd name="connsiteY5" fmla="*/ 3717011 h 4048081"/>
                  <a:gd name="connsiteX6" fmla="*/ 2073403 w 3130124"/>
                  <a:gd name="connsiteY6" fmla="*/ 3480046 h 4048081"/>
                  <a:gd name="connsiteX7" fmla="*/ 2073403 w 3130124"/>
                  <a:gd name="connsiteY7" fmla="*/ 2686214 h 4048081"/>
                  <a:gd name="connsiteX8" fmla="*/ 1835937 w 3130124"/>
                  <a:gd name="connsiteY8" fmla="*/ 2449249 h 4048081"/>
                  <a:gd name="connsiteX9" fmla="*/ 1835937 w 3130124"/>
                  <a:gd name="connsiteY9" fmla="*/ 1335514 h 4048081"/>
                  <a:gd name="connsiteX10" fmla="*/ 2073403 w 3130124"/>
                  <a:gd name="connsiteY10" fmla="*/ 1098549 h 4048081"/>
                  <a:gd name="connsiteX11" fmla="*/ 284983 w 3130124"/>
                  <a:gd name="connsiteY11" fmla="*/ 993211 h 4048081"/>
                  <a:gd name="connsiteX12" fmla="*/ 1234930 w 3130124"/>
                  <a:gd name="connsiteY12" fmla="*/ 993211 h 4048081"/>
                  <a:gd name="connsiteX13" fmla="*/ 1519914 w 3130124"/>
                  <a:gd name="connsiteY13" fmla="*/ 1277385 h 4048081"/>
                  <a:gd name="connsiteX14" fmla="*/ 1519914 w 3130124"/>
                  <a:gd name="connsiteY14" fmla="*/ 2568008 h 4048081"/>
                  <a:gd name="connsiteX15" fmla="*/ 1234930 w 3130124"/>
                  <a:gd name="connsiteY15" fmla="*/ 2852182 h 4048081"/>
                  <a:gd name="connsiteX16" fmla="*/ 1234930 w 3130124"/>
                  <a:gd name="connsiteY16" fmla="*/ 3763907 h 4048081"/>
                  <a:gd name="connsiteX17" fmla="*/ 961820 w 3130124"/>
                  <a:gd name="connsiteY17" fmla="*/ 4048081 h 4048081"/>
                  <a:gd name="connsiteX18" fmla="*/ 558093 w 3130124"/>
                  <a:gd name="connsiteY18" fmla="*/ 4048081 h 4048081"/>
                  <a:gd name="connsiteX19" fmla="*/ 284983 w 3130124"/>
                  <a:gd name="connsiteY19" fmla="*/ 3763907 h 4048081"/>
                  <a:gd name="connsiteX20" fmla="*/ 284983 w 3130124"/>
                  <a:gd name="connsiteY20" fmla="*/ 2852182 h 4048081"/>
                  <a:gd name="connsiteX21" fmla="*/ -1 w 3130124"/>
                  <a:gd name="connsiteY21" fmla="*/ 2568008 h 4048081"/>
                  <a:gd name="connsiteX22" fmla="*/ -1 w 3130124"/>
                  <a:gd name="connsiteY22" fmla="*/ 1277385 h 4048081"/>
                  <a:gd name="connsiteX23" fmla="*/ 284983 w 3130124"/>
                  <a:gd name="connsiteY23" fmla="*/ 993211 h 4048081"/>
                  <a:gd name="connsiteX24" fmla="*/ 757446 w 3130124"/>
                  <a:gd name="connsiteY24" fmla="*/ 0 h 4048081"/>
                  <a:gd name="connsiteX25" fmla="*/ 1208907 w 3130124"/>
                  <a:gd name="connsiteY25" fmla="*/ 453969 h 4048081"/>
                  <a:gd name="connsiteX26" fmla="*/ 757446 w 3130124"/>
                  <a:gd name="connsiteY26" fmla="*/ 907938 h 4048081"/>
                  <a:gd name="connsiteX27" fmla="*/ 305985 w 3130124"/>
                  <a:gd name="connsiteY27" fmla="*/ 453969 h 4048081"/>
                  <a:gd name="connsiteX28" fmla="*/ 757446 w 3130124"/>
                  <a:gd name="connsiteY28"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6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6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7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7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1835937 w 3186245"/>
                  <a:gd name="connsiteY7" fmla="*/ 1335514 h 4048081"/>
                  <a:gd name="connsiteX8" fmla="*/ 284983 w 3186245"/>
                  <a:gd name="connsiteY8" fmla="*/ 993211 h 4048081"/>
                  <a:gd name="connsiteX9" fmla="*/ 1234930 w 3186245"/>
                  <a:gd name="connsiteY9" fmla="*/ 993211 h 4048081"/>
                  <a:gd name="connsiteX10" fmla="*/ 1519914 w 3186245"/>
                  <a:gd name="connsiteY10" fmla="*/ 1277385 h 4048081"/>
                  <a:gd name="connsiteX11" fmla="*/ 1519914 w 3186245"/>
                  <a:gd name="connsiteY11" fmla="*/ 2568008 h 4048081"/>
                  <a:gd name="connsiteX12" fmla="*/ 1234930 w 3186245"/>
                  <a:gd name="connsiteY12" fmla="*/ 2852182 h 4048081"/>
                  <a:gd name="connsiteX13" fmla="*/ 1234930 w 3186245"/>
                  <a:gd name="connsiteY13" fmla="*/ 3763907 h 4048081"/>
                  <a:gd name="connsiteX14" fmla="*/ 961820 w 3186245"/>
                  <a:gd name="connsiteY14" fmla="*/ 4048081 h 4048081"/>
                  <a:gd name="connsiteX15" fmla="*/ 558093 w 3186245"/>
                  <a:gd name="connsiteY15" fmla="*/ 4048081 h 4048081"/>
                  <a:gd name="connsiteX16" fmla="*/ 284983 w 3186245"/>
                  <a:gd name="connsiteY16" fmla="*/ 3763907 h 4048081"/>
                  <a:gd name="connsiteX17" fmla="*/ 284983 w 3186245"/>
                  <a:gd name="connsiteY17" fmla="*/ 2852182 h 4048081"/>
                  <a:gd name="connsiteX18" fmla="*/ -1 w 3186245"/>
                  <a:gd name="connsiteY18" fmla="*/ 2568008 h 4048081"/>
                  <a:gd name="connsiteX19" fmla="*/ -1 w 3186245"/>
                  <a:gd name="connsiteY19" fmla="*/ 1277385 h 4048081"/>
                  <a:gd name="connsiteX20" fmla="*/ 284983 w 3186245"/>
                  <a:gd name="connsiteY20" fmla="*/ 993211 h 4048081"/>
                  <a:gd name="connsiteX21" fmla="*/ 757447 w 3186245"/>
                  <a:gd name="connsiteY21" fmla="*/ 0 h 4048081"/>
                  <a:gd name="connsiteX22" fmla="*/ 1208907 w 3186245"/>
                  <a:gd name="connsiteY22" fmla="*/ 453969 h 4048081"/>
                  <a:gd name="connsiteX23" fmla="*/ 757446 w 3186245"/>
                  <a:gd name="connsiteY23" fmla="*/ 907938 h 4048081"/>
                  <a:gd name="connsiteX24" fmla="*/ 305985 w 3186245"/>
                  <a:gd name="connsiteY24" fmla="*/ 453969 h 4048081"/>
                  <a:gd name="connsiteX25" fmla="*/ 757447 w 3186245"/>
                  <a:gd name="connsiteY25"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1835937 w 3186245"/>
                  <a:gd name="connsiteY6" fmla="*/ 1335514 h 4048081"/>
                  <a:gd name="connsiteX7" fmla="*/ 284983 w 3186245"/>
                  <a:gd name="connsiteY7" fmla="*/ 993211 h 4048081"/>
                  <a:gd name="connsiteX8" fmla="*/ 1234930 w 3186245"/>
                  <a:gd name="connsiteY8" fmla="*/ 993211 h 4048081"/>
                  <a:gd name="connsiteX9" fmla="*/ 1519914 w 3186245"/>
                  <a:gd name="connsiteY9" fmla="*/ 1277385 h 4048081"/>
                  <a:gd name="connsiteX10" fmla="*/ 1519914 w 3186245"/>
                  <a:gd name="connsiteY10" fmla="*/ 2568008 h 4048081"/>
                  <a:gd name="connsiteX11" fmla="*/ 1234930 w 3186245"/>
                  <a:gd name="connsiteY11" fmla="*/ 2852182 h 4048081"/>
                  <a:gd name="connsiteX12" fmla="*/ 1234930 w 3186245"/>
                  <a:gd name="connsiteY12" fmla="*/ 3763907 h 4048081"/>
                  <a:gd name="connsiteX13" fmla="*/ 961820 w 3186245"/>
                  <a:gd name="connsiteY13" fmla="*/ 4048081 h 4048081"/>
                  <a:gd name="connsiteX14" fmla="*/ 558093 w 3186245"/>
                  <a:gd name="connsiteY14" fmla="*/ 4048081 h 4048081"/>
                  <a:gd name="connsiteX15" fmla="*/ 284983 w 3186245"/>
                  <a:gd name="connsiteY15" fmla="*/ 3763907 h 4048081"/>
                  <a:gd name="connsiteX16" fmla="*/ 284983 w 3186245"/>
                  <a:gd name="connsiteY16" fmla="*/ 2852182 h 4048081"/>
                  <a:gd name="connsiteX17" fmla="*/ -1 w 3186245"/>
                  <a:gd name="connsiteY17" fmla="*/ 2568008 h 4048081"/>
                  <a:gd name="connsiteX18" fmla="*/ -1 w 3186245"/>
                  <a:gd name="connsiteY18" fmla="*/ 1277385 h 4048081"/>
                  <a:gd name="connsiteX19" fmla="*/ 284983 w 3186245"/>
                  <a:gd name="connsiteY19" fmla="*/ 993211 h 4048081"/>
                  <a:gd name="connsiteX20" fmla="*/ 757447 w 3186245"/>
                  <a:gd name="connsiteY20" fmla="*/ 0 h 4048081"/>
                  <a:gd name="connsiteX21" fmla="*/ 1208907 w 3186245"/>
                  <a:gd name="connsiteY21" fmla="*/ 453969 h 4048081"/>
                  <a:gd name="connsiteX22" fmla="*/ 757446 w 3186245"/>
                  <a:gd name="connsiteY22" fmla="*/ 907938 h 4048081"/>
                  <a:gd name="connsiteX23" fmla="*/ 305985 w 3186245"/>
                  <a:gd name="connsiteY23" fmla="*/ 453969 h 4048081"/>
                  <a:gd name="connsiteX24" fmla="*/ 757447 w 3186245"/>
                  <a:gd name="connsiteY24"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1835937 w 3186245"/>
                  <a:gd name="connsiteY5" fmla="*/ 1335514 h 4048081"/>
                  <a:gd name="connsiteX6" fmla="*/ 284983 w 3186245"/>
                  <a:gd name="connsiteY6" fmla="*/ 993211 h 4048081"/>
                  <a:gd name="connsiteX7" fmla="*/ 1234930 w 3186245"/>
                  <a:gd name="connsiteY7" fmla="*/ 993211 h 4048081"/>
                  <a:gd name="connsiteX8" fmla="*/ 1519914 w 3186245"/>
                  <a:gd name="connsiteY8" fmla="*/ 1277385 h 4048081"/>
                  <a:gd name="connsiteX9" fmla="*/ 1519914 w 3186245"/>
                  <a:gd name="connsiteY9" fmla="*/ 2568008 h 4048081"/>
                  <a:gd name="connsiteX10" fmla="*/ 1234930 w 3186245"/>
                  <a:gd name="connsiteY10" fmla="*/ 2852182 h 4048081"/>
                  <a:gd name="connsiteX11" fmla="*/ 1234930 w 3186245"/>
                  <a:gd name="connsiteY11" fmla="*/ 3763907 h 4048081"/>
                  <a:gd name="connsiteX12" fmla="*/ 961820 w 3186245"/>
                  <a:gd name="connsiteY12" fmla="*/ 4048081 h 4048081"/>
                  <a:gd name="connsiteX13" fmla="*/ 558093 w 3186245"/>
                  <a:gd name="connsiteY13" fmla="*/ 4048081 h 4048081"/>
                  <a:gd name="connsiteX14" fmla="*/ 284983 w 3186245"/>
                  <a:gd name="connsiteY14" fmla="*/ 3763907 h 4048081"/>
                  <a:gd name="connsiteX15" fmla="*/ 284983 w 3186245"/>
                  <a:gd name="connsiteY15" fmla="*/ 2852182 h 4048081"/>
                  <a:gd name="connsiteX16" fmla="*/ -1 w 3186245"/>
                  <a:gd name="connsiteY16" fmla="*/ 2568008 h 4048081"/>
                  <a:gd name="connsiteX17" fmla="*/ -1 w 3186245"/>
                  <a:gd name="connsiteY17" fmla="*/ 1277385 h 4048081"/>
                  <a:gd name="connsiteX18" fmla="*/ 284983 w 3186245"/>
                  <a:gd name="connsiteY18" fmla="*/ 993211 h 4048081"/>
                  <a:gd name="connsiteX19" fmla="*/ 757447 w 3186245"/>
                  <a:gd name="connsiteY19" fmla="*/ 0 h 4048081"/>
                  <a:gd name="connsiteX20" fmla="*/ 1208907 w 3186245"/>
                  <a:gd name="connsiteY20" fmla="*/ 453969 h 4048081"/>
                  <a:gd name="connsiteX21" fmla="*/ 757446 w 3186245"/>
                  <a:gd name="connsiteY21" fmla="*/ 907938 h 4048081"/>
                  <a:gd name="connsiteX22" fmla="*/ 305985 w 3186245"/>
                  <a:gd name="connsiteY22" fmla="*/ 453969 h 4048081"/>
                  <a:gd name="connsiteX23" fmla="*/ 757447 w 3186245"/>
                  <a:gd name="connsiteY23"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1835937 w 3186245"/>
                  <a:gd name="connsiteY4" fmla="*/ 1335514 h 4048081"/>
                  <a:gd name="connsiteX5" fmla="*/ 284983 w 3186245"/>
                  <a:gd name="connsiteY5" fmla="*/ 993211 h 4048081"/>
                  <a:gd name="connsiteX6" fmla="*/ 1234930 w 3186245"/>
                  <a:gd name="connsiteY6" fmla="*/ 993211 h 4048081"/>
                  <a:gd name="connsiteX7" fmla="*/ 1519914 w 3186245"/>
                  <a:gd name="connsiteY7" fmla="*/ 1277385 h 4048081"/>
                  <a:gd name="connsiteX8" fmla="*/ 1519914 w 3186245"/>
                  <a:gd name="connsiteY8" fmla="*/ 2568008 h 4048081"/>
                  <a:gd name="connsiteX9" fmla="*/ 1234930 w 3186245"/>
                  <a:gd name="connsiteY9" fmla="*/ 2852182 h 4048081"/>
                  <a:gd name="connsiteX10" fmla="*/ 1234930 w 3186245"/>
                  <a:gd name="connsiteY10" fmla="*/ 3763907 h 4048081"/>
                  <a:gd name="connsiteX11" fmla="*/ 961820 w 3186245"/>
                  <a:gd name="connsiteY11" fmla="*/ 4048081 h 4048081"/>
                  <a:gd name="connsiteX12" fmla="*/ 558093 w 3186245"/>
                  <a:gd name="connsiteY12" fmla="*/ 4048081 h 4048081"/>
                  <a:gd name="connsiteX13" fmla="*/ 284983 w 3186245"/>
                  <a:gd name="connsiteY13" fmla="*/ 3763907 h 4048081"/>
                  <a:gd name="connsiteX14" fmla="*/ 284983 w 3186245"/>
                  <a:gd name="connsiteY14" fmla="*/ 2852182 h 4048081"/>
                  <a:gd name="connsiteX15" fmla="*/ -1 w 3186245"/>
                  <a:gd name="connsiteY15" fmla="*/ 2568008 h 4048081"/>
                  <a:gd name="connsiteX16" fmla="*/ -1 w 3186245"/>
                  <a:gd name="connsiteY16" fmla="*/ 1277385 h 4048081"/>
                  <a:gd name="connsiteX17" fmla="*/ 284983 w 3186245"/>
                  <a:gd name="connsiteY17" fmla="*/ 993211 h 4048081"/>
                  <a:gd name="connsiteX18" fmla="*/ 757447 w 3186245"/>
                  <a:gd name="connsiteY18" fmla="*/ 0 h 4048081"/>
                  <a:gd name="connsiteX19" fmla="*/ 1208907 w 3186245"/>
                  <a:gd name="connsiteY19" fmla="*/ 453969 h 4048081"/>
                  <a:gd name="connsiteX20" fmla="*/ 757446 w 3186245"/>
                  <a:gd name="connsiteY20" fmla="*/ 907938 h 4048081"/>
                  <a:gd name="connsiteX21" fmla="*/ 305985 w 3186245"/>
                  <a:gd name="connsiteY21" fmla="*/ 453969 h 4048081"/>
                  <a:gd name="connsiteX22" fmla="*/ 757447 w 3186245"/>
                  <a:gd name="connsiteY22"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30124"/>
                  <a:gd name="connsiteY0" fmla="*/ 1335514 h 4048081"/>
                  <a:gd name="connsiteX1" fmla="*/ 3130124 w 3130124"/>
                  <a:gd name="connsiteY1" fmla="*/ 2449249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1835937 w 3130124"/>
                  <a:gd name="connsiteY0" fmla="*/ 1335514 h 4048081"/>
                  <a:gd name="connsiteX1" fmla="*/ 3130124 w 3130124"/>
                  <a:gd name="connsiteY1" fmla="*/ 2449250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913" h="4048081">
                    <a:moveTo>
                      <a:pt x="284983" y="993211"/>
                    </a:moveTo>
                    <a:lnTo>
                      <a:pt x="1234930" y="993211"/>
                    </a:lnTo>
                    <a:cubicBezTo>
                      <a:pt x="1389296" y="993211"/>
                      <a:pt x="1519914" y="1123457"/>
                      <a:pt x="1519914" y="1277385"/>
                    </a:cubicBezTo>
                    <a:lnTo>
                      <a:pt x="1519914" y="2568008"/>
                    </a:lnTo>
                    <a:cubicBezTo>
                      <a:pt x="1519914" y="2721936"/>
                      <a:pt x="1389296" y="2852182"/>
                      <a:pt x="1234930" y="2852182"/>
                    </a:cubicBezTo>
                    <a:lnTo>
                      <a:pt x="1234930" y="3763907"/>
                    </a:lnTo>
                    <a:cubicBezTo>
                      <a:pt x="1234930" y="3917835"/>
                      <a:pt x="1116187" y="4048081"/>
                      <a:pt x="961820" y="4048081"/>
                    </a:cubicBezTo>
                    <a:lnTo>
                      <a:pt x="558093" y="4048081"/>
                    </a:lnTo>
                    <a:cubicBezTo>
                      <a:pt x="403726" y="4048081"/>
                      <a:pt x="284983" y="3917835"/>
                      <a:pt x="284983" y="3763907"/>
                    </a:cubicBezTo>
                    <a:lnTo>
                      <a:pt x="284983" y="2852182"/>
                    </a:lnTo>
                    <a:cubicBezTo>
                      <a:pt x="130617" y="2852182"/>
                      <a:pt x="-1" y="2721936"/>
                      <a:pt x="-1" y="2568008"/>
                    </a:cubicBezTo>
                    <a:lnTo>
                      <a:pt x="-1" y="1277385"/>
                    </a:lnTo>
                    <a:cubicBezTo>
                      <a:pt x="-1" y="1123457"/>
                      <a:pt x="130617" y="993211"/>
                      <a:pt x="284983" y="993211"/>
                    </a:cubicBezTo>
                    <a:close/>
                    <a:moveTo>
                      <a:pt x="757447" y="0"/>
                    </a:moveTo>
                    <a:cubicBezTo>
                      <a:pt x="1006782" y="0"/>
                      <a:pt x="1208908" y="198778"/>
                      <a:pt x="1208907" y="453969"/>
                    </a:cubicBezTo>
                    <a:cubicBezTo>
                      <a:pt x="1208906" y="709160"/>
                      <a:pt x="1006781" y="907938"/>
                      <a:pt x="757446" y="907938"/>
                    </a:cubicBezTo>
                    <a:cubicBezTo>
                      <a:pt x="508111" y="907938"/>
                      <a:pt x="298624" y="701997"/>
                      <a:pt x="305985" y="453969"/>
                    </a:cubicBezTo>
                    <a:cubicBezTo>
                      <a:pt x="313346" y="205941"/>
                      <a:pt x="508112" y="0"/>
                      <a:pt x="757447" y="0"/>
                    </a:cubicBezTo>
                    <a:close/>
                  </a:path>
                </a:pathLst>
              </a:custGeom>
              <a:solidFill>
                <a:schemeClr val="bg1"/>
              </a:solidFill>
              <a:ln w="12700">
                <a:solidFill>
                  <a:srgbClr val="0070C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 </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5" name="Freeform 48"/>
              <p:cNvSpPr>
                <a:spLocks noChangeAspect="1"/>
              </p:cNvSpPr>
              <p:nvPr/>
            </p:nvSpPr>
            <p:spPr bwMode="black">
              <a:xfrm flipH="1">
                <a:off x="3924954" y="4254202"/>
                <a:ext cx="224229" cy="613609"/>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367657 w 4740335"/>
                  <a:gd name="connsiteY44" fmla="*/ 0 h 4048081"/>
                  <a:gd name="connsiteX45" fmla="*/ 2819118 w 4740335"/>
                  <a:gd name="connsiteY45" fmla="*/ 453969 h 4048081"/>
                  <a:gd name="connsiteX46" fmla="*/ 2367657 w 4740335"/>
                  <a:gd name="connsiteY46" fmla="*/ 907938 h 4048081"/>
                  <a:gd name="connsiteX47" fmla="*/ 1916196 w 4740335"/>
                  <a:gd name="connsiteY47" fmla="*/ 453969 h 4048081"/>
                  <a:gd name="connsiteX48" fmla="*/ 2367657 w 4740335"/>
                  <a:gd name="connsiteY48"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2367657 w 4740335"/>
                  <a:gd name="connsiteY43" fmla="*/ 0 h 4048081"/>
                  <a:gd name="connsiteX44" fmla="*/ 2819118 w 4740335"/>
                  <a:gd name="connsiteY44" fmla="*/ 453969 h 4048081"/>
                  <a:gd name="connsiteX45" fmla="*/ 2367657 w 4740335"/>
                  <a:gd name="connsiteY45" fmla="*/ 907938 h 4048081"/>
                  <a:gd name="connsiteX46" fmla="*/ 1916196 w 4740335"/>
                  <a:gd name="connsiteY46" fmla="*/ 453969 h 4048081"/>
                  <a:gd name="connsiteX47" fmla="*/ 2367657 w 4740335"/>
                  <a:gd name="connsiteY47" fmla="*/ 0 h 4048081"/>
                  <a:gd name="connsiteX0" fmla="*/ 3779109 w 4835830"/>
                  <a:gd name="connsiteY0" fmla="*/ 1098549 h 4048081"/>
                  <a:gd name="connsiteX1" fmla="*/ 4598365 w 4835830"/>
                  <a:gd name="connsiteY1" fmla="*/ 1098549 h 4048081"/>
                  <a:gd name="connsiteX2" fmla="*/ 4835830 w 4835830"/>
                  <a:gd name="connsiteY2" fmla="*/ 1335514 h 4048081"/>
                  <a:gd name="connsiteX3" fmla="*/ 4835830 w 4835830"/>
                  <a:gd name="connsiteY3" fmla="*/ 2449249 h 4048081"/>
                  <a:gd name="connsiteX4" fmla="*/ 4598365 w 4835830"/>
                  <a:gd name="connsiteY4" fmla="*/ 2686214 h 4048081"/>
                  <a:gd name="connsiteX5" fmla="*/ 4598365 w 4835830"/>
                  <a:gd name="connsiteY5" fmla="*/ 3480046 h 4048081"/>
                  <a:gd name="connsiteX6" fmla="*/ 4360900 w 4835830"/>
                  <a:gd name="connsiteY6" fmla="*/ 3717011 h 4048081"/>
                  <a:gd name="connsiteX7" fmla="*/ 4004701 w 4835830"/>
                  <a:gd name="connsiteY7" fmla="*/ 3717011 h 4048081"/>
                  <a:gd name="connsiteX8" fmla="*/ 3779109 w 4835830"/>
                  <a:gd name="connsiteY8" fmla="*/ 3480046 h 4048081"/>
                  <a:gd name="connsiteX9" fmla="*/ 3779109 w 4835830"/>
                  <a:gd name="connsiteY9" fmla="*/ 2686214 h 4048081"/>
                  <a:gd name="connsiteX10" fmla="*/ 3541643 w 4835830"/>
                  <a:gd name="connsiteY10" fmla="*/ 2449249 h 4048081"/>
                  <a:gd name="connsiteX11" fmla="*/ 3541643 w 4835830"/>
                  <a:gd name="connsiteY11" fmla="*/ 1335514 h 4048081"/>
                  <a:gd name="connsiteX12" fmla="*/ 3779109 w 4835830"/>
                  <a:gd name="connsiteY12" fmla="*/ 1098549 h 4048081"/>
                  <a:gd name="connsiteX13" fmla="*/ 95495 w 4835830"/>
                  <a:gd name="connsiteY13" fmla="*/ 1335514 h 4048081"/>
                  <a:gd name="connsiteX14" fmla="*/ 1384669 w 4835830"/>
                  <a:gd name="connsiteY14" fmla="*/ 1335514 h 4048081"/>
                  <a:gd name="connsiteX15" fmla="*/ 1384669 w 4835830"/>
                  <a:gd name="connsiteY15" fmla="*/ 2449249 h 4048081"/>
                  <a:gd name="connsiteX16" fmla="*/ 1148123 w 4835830"/>
                  <a:gd name="connsiteY16" fmla="*/ 2686214 h 4048081"/>
                  <a:gd name="connsiteX17" fmla="*/ 1148123 w 4835830"/>
                  <a:gd name="connsiteY17" fmla="*/ 3480046 h 4048081"/>
                  <a:gd name="connsiteX18" fmla="*/ 923405 w 4835830"/>
                  <a:gd name="connsiteY18" fmla="*/ 3717011 h 4048081"/>
                  <a:gd name="connsiteX19" fmla="*/ 568586 w 4835830"/>
                  <a:gd name="connsiteY19" fmla="*/ 3717011 h 4048081"/>
                  <a:gd name="connsiteX20" fmla="*/ 332041 w 4835830"/>
                  <a:gd name="connsiteY20" fmla="*/ 3480046 h 4048081"/>
                  <a:gd name="connsiteX21" fmla="*/ 332041 w 4835830"/>
                  <a:gd name="connsiteY21" fmla="*/ 2686214 h 4048081"/>
                  <a:gd name="connsiteX22" fmla="*/ 95495 w 4835830"/>
                  <a:gd name="connsiteY22" fmla="*/ 2449249 h 4048081"/>
                  <a:gd name="connsiteX23" fmla="*/ 95495 w 4835830"/>
                  <a:gd name="connsiteY23" fmla="*/ 1335514 h 4048081"/>
                  <a:gd name="connsiteX24" fmla="*/ 1990689 w 4835830"/>
                  <a:gd name="connsiteY24" fmla="*/ 993211 h 4048081"/>
                  <a:gd name="connsiteX25" fmla="*/ 2940636 w 4835830"/>
                  <a:gd name="connsiteY25" fmla="*/ 993211 h 4048081"/>
                  <a:gd name="connsiteX26" fmla="*/ 3225620 w 4835830"/>
                  <a:gd name="connsiteY26" fmla="*/ 1277385 h 4048081"/>
                  <a:gd name="connsiteX27" fmla="*/ 3225620 w 4835830"/>
                  <a:gd name="connsiteY27" fmla="*/ 2568008 h 4048081"/>
                  <a:gd name="connsiteX28" fmla="*/ 2940636 w 4835830"/>
                  <a:gd name="connsiteY28" fmla="*/ 2852182 h 4048081"/>
                  <a:gd name="connsiteX29" fmla="*/ 2940636 w 4835830"/>
                  <a:gd name="connsiteY29" fmla="*/ 3763907 h 4048081"/>
                  <a:gd name="connsiteX30" fmla="*/ 2667526 w 4835830"/>
                  <a:gd name="connsiteY30" fmla="*/ 4048081 h 4048081"/>
                  <a:gd name="connsiteX31" fmla="*/ 2263799 w 4835830"/>
                  <a:gd name="connsiteY31" fmla="*/ 4048081 h 4048081"/>
                  <a:gd name="connsiteX32" fmla="*/ 1990689 w 4835830"/>
                  <a:gd name="connsiteY32" fmla="*/ 3763907 h 4048081"/>
                  <a:gd name="connsiteX33" fmla="*/ 1990689 w 4835830"/>
                  <a:gd name="connsiteY33" fmla="*/ 2852182 h 4048081"/>
                  <a:gd name="connsiteX34" fmla="*/ 1705705 w 4835830"/>
                  <a:gd name="connsiteY34" fmla="*/ 2568008 h 4048081"/>
                  <a:gd name="connsiteX35" fmla="*/ 1705705 w 4835830"/>
                  <a:gd name="connsiteY35" fmla="*/ 1277385 h 4048081"/>
                  <a:gd name="connsiteX36" fmla="*/ 1990689 w 4835830"/>
                  <a:gd name="connsiteY36" fmla="*/ 993211 h 4048081"/>
                  <a:gd name="connsiteX37" fmla="*/ 4188741 w 4835830"/>
                  <a:gd name="connsiteY37" fmla="*/ 245790 h 4048081"/>
                  <a:gd name="connsiteX38" fmla="*/ 4574990 w 4835830"/>
                  <a:gd name="connsiteY38" fmla="*/ 637055 h 4048081"/>
                  <a:gd name="connsiteX39" fmla="*/ 4188741 w 4835830"/>
                  <a:gd name="connsiteY39" fmla="*/ 1028320 h 4048081"/>
                  <a:gd name="connsiteX40" fmla="*/ 3802492 w 4835830"/>
                  <a:gd name="connsiteY40" fmla="*/ 637055 h 4048081"/>
                  <a:gd name="connsiteX41" fmla="*/ 4188741 w 4835830"/>
                  <a:gd name="connsiteY41" fmla="*/ 245790 h 4048081"/>
                  <a:gd name="connsiteX42" fmla="*/ 2463152 w 4835830"/>
                  <a:gd name="connsiteY42" fmla="*/ 0 h 4048081"/>
                  <a:gd name="connsiteX43" fmla="*/ 2914613 w 4835830"/>
                  <a:gd name="connsiteY43" fmla="*/ 453969 h 4048081"/>
                  <a:gd name="connsiteX44" fmla="*/ 2463152 w 4835830"/>
                  <a:gd name="connsiteY44" fmla="*/ 907938 h 4048081"/>
                  <a:gd name="connsiteX45" fmla="*/ 2011691 w 4835830"/>
                  <a:gd name="connsiteY45" fmla="*/ 453969 h 4048081"/>
                  <a:gd name="connsiteX46" fmla="*/ 2463152 w 4835830"/>
                  <a:gd name="connsiteY46"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1335514 h 4048081"/>
                  <a:gd name="connsiteX15" fmla="*/ 1345079 w 4796240"/>
                  <a:gd name="connsiteY15" fmla="*/ 2449249 h 4048081"/>
                  <a:gd name="connsiteX16" fmla="*/ 1108533 w 4796240"/>
                  <a:gd name="connsiteY16" fmla="*/ 2686214 h 4048081"/>
                  <a:gd name="connsiteX17" fmla="*/ 1108533 w 4796240"/>
                  <a:gd name="connsiteY17" fmla="*/ 3480046 h 4048081"/>
                  <a:gd name="connsiteX18" fmla="*/ 883815 w 4796240"/>
                  <a:gd name="connsiteY18" fmla="*/ 3717011 h 4048081"/>
                  <a:gd name="connsiteX19" fmla="*/ 528996 w 4796240"/>
                  <a:gd name="connsiteY19" fmla="*/ 3717011 h 4048081"/>
                  <a:gd name="connsiteX20" fmla="*/ 292451 w 4796240"/>
                  <a:gd name="connsiteY20" fmla="*/ 3480046 h 4048081"/>
                  <a:gd name="connsiteX21" fmla="*/ 292451 w 4796240"/>
                  <a:gd name="connsiteY21" fmla="*/ 2686214 h 4048081"/>
                  <a:gd name="connsiteX22" fmla="*/ 55905 w 4796240"/>
                  <a:gd name="connsiteY22" fmla="*/ 2449249 h 4048081"/>
                  <a:gd name="connsiteX23" fmla="*/ 1951099 w 4796240"/>
                  <a:gd name="connsiteY23" fmla="*/ 993211 h 4048081"/>
                  <a:gd name="connsiteX24" fmla="*/ 2901046 w 4796240"/>
                  <a:gd name="connsiteY24" fmla="*/ 993211 h 4048081"/>
                  <a:gd name="connsiteX25" fmla="*/ 3186030 w 4796240"/>
                  <a:gd name="connsiteY25" fmla="*/ 1277385 h 4048081"/>
                  <a:gd name="connsiteX26" fmla="*/ 3186030 w 4796240"/>
                  <a:gd name="connsiteY26" fmla="*/ 2568008 h 4048081"/>
                  <a:gd name="connsiteX27" fmla="*/ 2901046 w 4796240"/>
                  <a:gd name="connsiteY27" fmla="*/ 2852182 h 4048081"/>
                  <a:gd name="connsiteX28" fmla="*/ 2901046 w 4796240"/>
                  <a:gd name="connsiteY28" fmla="*/ 3763907 h 4048081"/>
                  <a:gd name="connsiteX29" fmla="*/ 2627936 w 4796240"/>
                  <a:gd name="connsiteY29" fmla="*/ 4048081 h 4048081"/>
                  <a:gd name="connsiteX30" fmla="*/ 2224209 w 4796240"/>
                  <a:gd name="connsiteY30" fmla="*/ 4048081 h 4048081"/>
                  <a:gd name="connsiteX31" fmla="*/ 1951099 w 4796240"/>
                  <a:gd name="connsiteY31" fmla="*/ 3763907 h 4048081"/>
                  <a:gd name="connsiteX32" fmla="*/ 1951099 w 4796240"/>
                  <a:gd name="connsiteY32" fmla="*/ 2852182 h 4048081"/>
                  <a:gd name="connsiteX33" fmla="*/ 1666115 w 4796240"/>
                  <a:gd name="connsiteY33" fmla="*/ 2568008 h 4048081"/>
                  <a:gd name="connsiteX34" fmla="*/ 1666115 w 4796240"/>
                  <a:gd name="connsiteY34" fmla="*/ 1277385 h 4048081"/>
                  <a:gd name="connsiteX35" fmla="*/ 1951099 w 4796240"/>
                  <a:gd name="connsiteY35" fmla="*/ 993211 h 4048081"/>
                  <a:gd name="connsiteX36" fmla="*/ 4149151 w 4796240"/>
                  <a:gd name="connsiteY36" fmla="*/ 245790 h 4048081"/>
                  <a:gd name="connsiteX37" fmla="*/ 4535400 w 4796240"/>
                  <a:gd name="connsiteY37" fmla="*/ 637055 h 4048081"/>
                  <a:gd name="connsiteX38" fmla="*/ 4149151 w 4796240"/>
                  <a:gd name="connsiteY38" fmla="*/ 1028320 h 4048081"/>
                  <a:gd name="connsiteX39" fmla="*/ 3762902 w 4796240"/>
                  <a:gd name="connsiteY39" fmla="*/ 637055 h 4048081"/>
                  <a:gd name="connsiteX40" fmla="*/ 4149151 w 4796240"/>
                  <a:gd name="connsiteY40" fmla="*/ 245790 h 4048081"/>
                  <a:gd name="connsiteX41" fmla="*/ 2423562 w 4796240"/>
                  <a:gd name="connsiteY41" fmla="*/ 0 h 4048081"/>
                  <a:gd name="connsiteX42" fmla="*/ 2875023 w 4796240"/>
                  <a:gd name="connsiteY42" fmla="*/ 453969 h 4048081"/>
                  <a:gd name="connsiteX43" fmla="*/ 2423562 w 4796240"/>
                  <a:gd name="connsiteY43" fmla="*/ 907938 h 4048081"/>
                  <a:gd name="connsiteX44" fmla="*/ 1972101 w 4796240"/>
                  <a:gd name="connsiteY44" fmla="*/ 453969 h 4048081"/>
                  <a:gd name="connsiteX45" fmla="*/ 2423562 w 4796240"/>
                  <a:gd name="connsiteY45"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2449249 h 4048081"/>
                  <a:gd name="connsiteX15" fmla="*/ 1108533 w 4796240"/>
                  <a:gd name="connsiteY15" fmla="*/ 2686214 h 4048081"/>
                  <a:gd name="connsiteX16" fmla="*/ 1108533 w 4796240"/>
                  <a:gd name="connsiteY16" fmla="*/ 3480046 h 4048081"/>
                  <a:gd name="connsiteX17" fmla="*/ 883815 w 4796240"/>
                  <a:gd name="connsiteY17" fmla="*/ 3717011 h 4048081"/>
                  <a:gd name="connsiteX18" fmla="*/ 528996 w 4796240"/>
                  <a:gd name="connsiteY18" fmla="*/ 3717011 h 4048081"/>
                  <a:gd name="connsiteX19" fmla="*/ 292451 w 4796240"/>
                  <a:gd name="connsiteY19" fmla="*/ 3480046 h 4048081"/>
                  <a:gd name="connsiteX20" fmla="*/ 292451 w 4796240"/>
                  <a:gd name="connsiteY20" fmla="*/ 2686214 h 4048081"/>
                  <a:gd name="connsiteX21" fmla="*/ 55905 w 4796240"/>
                  <a:gd name="connsiteY21" fmla="*/ 2449249 h 4048081"/>
                  <a:gd name="connsiteX22" fmla="*/ 1951099 w 4796240"/>
                  <a:gd name="connsiteY22" fmla="*/ 993211 h 4048081"/>
                  <a:gd name="connsiteX23" fmla="*/ 2901046 w 4796240"/>
                  <a:gd name="connsiteY23" fmla="*/ 993211 h 4048081"/>
                  <a:gd name="connsiteX24" fmla="*/ 3186030 w 4796240"/>
                  <a:gd name="connsiteY24" fmla="*/ 1277385 h 4048081"/>
                  <a:gd name="connsiteX25" fmla="*/ 3186030 w 4796240"/>
                  <a:gd name="connsiteY25" fmla="*/ 2568008 h 4048081"/>
                  <a:gd name="connsiteX26" fmla="*/ 2901046 w 4796240"/>
                  <a:gd name="connsiteY26" fmla="*/ 2852182 h 4048081"/>
                  <a:gd name="connsiteX27" fmla="*/ 2901046 w 4796240"/>
                  <a:gd name="connsiteY27" fmla="*/ 3763907 h 4048081"/>
                  <a:gd name="connsiteX28" fmla="*/ 2627936 w 4796240"/>
                  <a:gd name="connsiteY28" fmla="*/ 4048081 h 4048081"/>
                  <a:gd name="connsiteX29" fmla="*/ 2224209 w 4796240"/>
                  <a:gd name="connsiteY29" fmla="*/ 4048081 h 4048081"/>
                  <a:gd name="connsiteX30" fmla="*/ 1951099 w 4796240"/>
                  <a:gd name="connsiteY30" fmla="*/ 3763907 h 4048081"/>
                  <a:gd name="connsiteX31" fmla="*/ 1951099 w 4796240"/>
                  <a:gd name="connsiteY31" fmla="*/ 2852182 h 4048081"/>
                  <a:gd name="connsiteX32" fmla="*/ 1666115 w 4796240"/>
                  <a:gd name="connsiteY32" fmla="*/ 2568008 h 4048081"/>
                  <a:gd name="connsiteX33" fmla="*/ 1666115 w 4796240"/>
                  <a:gd name="connsiteY33" fmla="*/ 1277385 h 4048081"/>
                  <a:gd name="connsiteX34" fmla="*/ 1951099 w 4796240"/>
                  <a:gd name="connsiteY34" fmla="*/ 993211 h 4048081"/>
                  <a:gd name="connsiteX35" fmla="*/ 4149151 w 4796240"/>
                  <a:gd name="connsiteY35" fmla="*/ 245790 h 4048081"/>
                  <a:gd name="connsiteX36" fmla="*/ 4535400 w 4796240"/>
                  <a:gd name="connsiteY36" fmla="*/ 637055 h 4048081"/>
                  <a:gd name="connsiteX37" fmla="*/ 4149151 w 4796240"/>
                  <a:gd name="connsiteY37" fmla="*/ 1028320 h 4048081"/>
                  <a:gd name="connsiteX38" fmla="*/ 3762902 w 4796240"/>
                  <a:gd name="connsiteY38" fmla="*/ 637055 h 4048081"/>
                  <a:gd name="connsiteX39" fmla="*/ 4149151 w 4796240"/>
                  <a:gd name="connsiteY39" fmla="*/ 245790 h 4048081"/>
                  <a:gd name="connsiteX40" fmla="*/ 2423562 w 4796240"/>
                  <a:gd name="connsiteY40" fmla="*/ 0 h 4048081"/>
                  <a:gd name="connsiteX41" fmla="*/ 2875023 w 4796240"/>
                  <a:gd name="connsiteY41" fmla="*/ 453969 h 4048081"/>
                  <a:gd name="connsiteX42" fmla="*/ 2423562 w 4796240"/>
                  <a:gd name="connsiteY42" fmla="*/ 907938 h 4048081"/>
                  <a:gd name="connsiteX43" fmla="*/ 1972101 w 4796240"/>
                  <a:gd name="connsiteY43" fmla="*/ 453969 h 4048081"/>
                  <a:gd name="connsiteX44" fmla="*/ 2423562 w 4796240"/>
                  <a:gd name="connsiteY44"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49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49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50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50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447069 w 4503790"/>
                  <a:gd name="connsiteY0" fmla="*/ 1098549 h 4048081"/>
                  <a:gd name="connsiteX1" fmla="*/ 4266325 w 4503790"/>
                  <a:gd name="connsiteY1" fmla="*/ 1098549 h 4048081"/>
                  <a:gd name="connsiteX2" fmla="*/ 4503790 w 4503790"/>
                  <a:gd name="connsiteY2" fmla="*/ 1335514 h 4048081"/>
                  <a:gd name="connsiteX3" fmla="*/ 4503790 w 4503790"/>
                  <a:gd name="connsiteY3" fmla="*/ 2449249 h 4048081"/>
                  <a:gd name="connsiteX4" fmla="*/ 4266325 w 4503790"/>
                  <a:gd name="connsiteY4" fmla="*/ 2686214 h 4048081"/>
                  <a:gd name="connsiteX5" fmla="*/ 4266325 w 4503790"/>
                  <a:gd name="connsiteY5" fmla="*/ 3480046 h 4048081"/>
                  <a:gd name="connsiteX6" fmla="*/ 4028860 w 4503790"/>
                  <a:gd name="connsiteY6" fmla="*/ 3717011 h 4048081"/>
                  <a:gd name="connsiteX7" fmla="*/ 3672661 w 4503790"/>
                  <a:gd name="connsiteY7" fmla="*/ 3717011 h 4048081"/>
                  <a:gd name="connsiteX8" fmla="*/ 3447069 w 4503790"/>
                  <a:gd name="connsiteY8" fmla="*/ 3480046 h 4048081"/>
                  <a:gd name="connsiteX9" fmla="*/ 3447069 w 4503790"/>
                  <a:gd name="connsiteY9" fmla="*/ 2686214 h 4048081"/>
                  <a:gd name="connsiteX10" fmla="*/ 3209603 w 4503790"/>
                  <a:gd name="connsiteY10" fmla="*/ 2449249 h 4048081"/>
                  <a:gd name="connsiteX11" fmla="*/ 3209603 w 4503790"/>
                  <a:gd name="connsiteY11" fmla="*/ 1335514 h 4048081"/>
                  <a:gd name="connsiteX12" fmla="*/ 3447069 w 4503790"/>
                  <a:gd name="connsiteY12" fmla="*/ 1098549 h 4048081"/>
                  <a:gd name="connsiteX13" fmla="*/ 1 w 4503790"/>
                  <a:gd name="connsiteY13" fmla="*/ 2686214 h 4048081"/>
                  <a:gd name="connsiteX14" fmla="*/ 816083 w 4503790"/>
                  <a:gd name="connsiteY14" fmla="*/ 2686214 h 4048081"/>
                  <a:gd name="connsiteX15" fmla="*/ 816083 w 4503790"/>
                  <a:gd name="connsiteY15" fmla="*/ 3480046 h 4048081"/>
                  <a:gd name="connsiteX16" fmla="*/ 591365 w 4503790"/>
                  <a:gd name="connsiteY16" fmla="*/ 3717011 h 4048081"/>
                  <a:gd name="connsiteX17" fmla="*/ 236546 w 4503790"/>
                  <a:gd name="connsiteY17" fmla="*/ 3717011 h 4048081"/>
                  <a:gd name="connsiteX18" fmla="*/ 1 w 4503790"/>
                  <a:gd name="connsiteY18" fmla="*/ 3480046 h 4048081"/>
                  <a:gd name="connsiteX19" fmla="*/ 1 w 4503790"/>
                  <a:gd name="connsiteY19" fmla="*/ 2686214 h 4048081"/>
                  <a:gd name="connsiteX20" fmla="*/ 1658649 w 4503790"/>
                  <a:gd name="connsiteY20" fmla="*/ 993211 h 4048081"/>
                  <a:gd name="connsiteX21" fmla="*/ 2608596 w 4503790"/>
                  <a:gd name="connsiteY21" fmla="*/ 993211 h 4048081"/>
                  <a:gd name="connsiteX22" fmla="*/ 2893580 w 4503790"/>
                  <a:gd name="connsiteY22" fmla="*/ 1277385 h 4048081"/>
                  <a:gd name="connsiteX23" fmla="*/ 2893580 w 4503790"/>
                  <a:gd name="connsiteY23" fmla="*/ 2568008 h 4048081"/>
                  <a:gd name="connsiteX24" fmla="*/ 2608596 w 4503790"/>
                  <a:gd name="connsiteY24" fmla="*/ 2852182 h 4048081"/>
                  <a:gd name="connsiteX25" fmla="*/ 2608596 w 4503790"/>
                  <a:gd name="connsiteY25" fmla="*/ 3763907 h 4048081"/>
                  <a:gd name="connsiteX26" fmla="*/ 2335486 w 4503790"/>
                  <a:gd name="connsiteY26" fmla="*/ 4048081 h 4048081"/>
                  <a:gd name="connsiteX27" fmla="*/ 1931759 w 4503790"/>
                  <a:gd name="connsiteY27" fmla="*/ 4048081 h 4048081"/>
                  <a:gd name="connsiteX28" fmla="*/ 1658649 w 4503790"/>
                  <a:gd name="connsiteY28" fmla="*/ 3763907 h 4048081"/>
                  <a:gd name="connsiteX29" fmla="*/ 1658649 w 4503790"/>
                  <a:gd name="connsiteY29" fmla="*/ 2852182 h 4048081"/>
                  <a:gd name="connsiteX30" fmla="*/ 1373665 w 4503790"/>
                  <a:gd name="connsiteY30" fmla="*/ 2568008 h 4048081"/>
                  <a:gd name="connsiteX31" fmla="*/ 1373665 w 4503790"/>
                  <a:gd name="connsiteY31" fmla="*/ 1277385 h 4048081"/>
                  <a:gd name="connsiteX32" fmla="*/ 1658649 w 4503790"/>
                  <a:gd name="connsiteY32" fmla="*/ 993211 h 4048081"/>
                  <a:gd name="connsiteX33" fmla="*/ 3856701 w 4503790"/>
                  <a:gd name="connsiteY33" fmla="*/ 245790 h 4048081"/>
                  <a:gd name="connsiteX34" fmla="*/ 4242950 w 4503790"/>
                  <a:gd name="connsiteY34" fmla="*/ 637055 h 4048081"/>
                  <a:gd name="connsiteX35" fmla="*/ 3856701 w 4503790"/>
                  <a:gd name="connsiteY35" fmla="*/ 1028320 h 4048081"/>
                  <a:gd name="connsiteX36" fmla="*/ 3470452 w 4503790"/>
                  <a:gd name="connsiteY36" fmla="*/ 637055 h 4048081"/>
                  <a:gd name="connsiteX37" fmla="*/ 3856701 w 4503790"/>
                  <a:gd name="connsiteY37" fmla="*/ 245790 h 4048081"/>
                  <a:gd name="connsiteX38" fmla="*/ 2131112 w 4503790"/>
                  <a:gd name="connsiteY38" fmla="*/ 0 h 4048081"/>
                  <a:gd name="connsiteX39" fmla="*/ 2582573 w 4503790"/>
                  <a:gd name="connsiteY39" fmla="*/ 453969 h 4048081"/>
                  <a:gd name="connsiteX40" fmla="*/ 2131112 w 4503790"/>
                  <a:gd name="connsiteY40" fmla="*/ 907938 h 4048081"/>
                  <a:gd name="connsiteX41" fmla="*/ 1679651 w 4503790"/>
                  <a:gd name="connsiteY41" fmla="*/ 453969 h 4048081"/>
                  <a:gd name="connsiteX42" fmla="*/ 2131112 w 4503790"/>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72277 w 4528998"/>
                  <a:gd name="connsiteY0" fmla="*/ 1098549 h 4048081"/>
                  <a:gd name="connsiteX1" fmla="*/ 4291533 w 4528998"/>
                  <a:gd name="connsiteY1" fmla="*/ 1098549 h 4048081"/>
                  <a:gd name="connsiteX2" fmla="*/ 4528998 w 4528998"/>
                  <a:gd name="connsiteY2" fmla="*/ 1335514 h 4048081"/>
                  <a:gd name="connsiteX3" fmla="*/ 4528998 w 4528998"/>
                  <a:gd name="connsiteY3" fmla="*/ 2449249 h 4048081"/>
                  <a:gd name="connsiteX4" fmla="*/ 4291533 w 4528998"/>
                  <a:gd name="connsiteY4" fmla="*/ 2686214 h 4048081"/>
                  <a:gd name="connsiteX5" fmla="*/ 4291533 w 4528998"/>
                  <a:gd name="connsiteY5" fmla="*/ 3480046 h 4048081"/>
                  <a:gd name="connsiteX6" fmla="*/ 4054068 w 4528998"/>
                  <a:gd name="connsiteY6" fmla="*/ 3717011 h 4048081"/>
                  <a:gd name="connsiteX7" fmla="*/ 3697869 w 4528998"/>
                  <a:gd name="connsiteY7" fmla="*/ 3717011 h 4048081"/>
                  <a:gd name="connsiteX8" fmla="*/ 3472277 w 4528998"/>
                  <a:gd name="connsiteY8" fmla="*/ 3480046 h 4048081"/>
                  <a:gd name="connsiteX9" fmla="*/ 3472277 w 4528998"/>
                  <a:gd name="connsiteY9" fmla="*/ 2686214 h 4048081"/>
                  <a:gd name="connsiteX10" fmla="*/ 3234811 w 4528998"/>
                  <a:gd name="connsiteY10" fmla="*/ 2449249 h 4048081"/>
                  <a:gd name="connsiteX11" fmla="*/ 3234811 w 4528998"/>
                  <a:gd name="connsiteY11" fmla="*/ 1335514 h 4048081"/>
                  <a:gd name="connsiteX12" fmla="*/ 3472277 w 4528998"/>
                  <a:gd name="connsiteY12" fmla="*/ 1098549 h 4048081"/>
                  <a:gd name="connsiteX13" fmla="*/ 25209 w 4528998"/>
                  <a:gd name="connsiteY13" fmla="*/ 3480046 h 4048081"/>
                  <a:gd name="connsiteX14" fmla="*/ 841291 w 4528998"/>
                  <a:gd name="connsiteY14" fmla="*/ 2686214 h 4048081"/>
                  <a:gd name="connsiteX15" fmla="*/ 841291 w 4528998"/>
                  <a:gd name="connsiteY15" fmla="*/ 3480046 h 4048081"/>
                  <a:gd name="connsiteX16" fmla="*/ 616573 w 4528998"/>
                  <a:gd name="connsiteY16" fmla="*/ 3717011 h 4048081"/>
                  <a:gd name="connsiteX17" fmla="*/ 261754 w 4528998"/>
                  <a:gd name="connsiteY17" fmla="*/ 3717011 h 4048081"/>
                  <a:gd name="connsiteX18" fmla="*/ 25209 w 4528998"/>
                  <a:gd name="connsiteY18" fmla="*/ 3480046 h 4048081"/>
                  <a:gd name="connsiteX19" fmla="*/ 1683857 w 4528998"/>
                  <a:gd name="connsiteY19" fmla="*/ 993211 h 4048081"/>
                  <a:gd name="connsiteX20" fmla="*/ 2633804 w 4528998"/>
                  <a:gd name="connsiteY20" fmla="*/ 993211 h 4048081"/>
                  <a:gd name="connsiteX21" fmla="*/ 2918788 w 4528998"/>
                  <a:gd name="connsiteY21" fmla="*/ 1277385 h 4048081"/>
                  <a:gd name="connsiteX22" fmla="*/ 2918788 w 4528998"/>
                  <a:gd name="connsiteY22" fmla="*/ 2568008 h 4048081"/>
                  <a:gd name="connsiteX23" fmla="*/ 2633804 w 4528998"/>
                  <a:gd name="connsiteY23" fmla="*/ 2852182 h 4048081"/>
                  <a:gd name="connsiteX24" fmla="*/ 2633804 w 4528998"/>
                  <a:gd name="connsiteY24" fmla="*/ 3763907 h 4048081"/>
                  <a:gd name="connsiteX25" fmla="*/ 2360694 w 4528998"/>
                  <a:gd name="connsiteY25" fmla="*/ 4048081 h 4048081"/>
                  <a:gd name="connsiteX26" fmla="*/ 1956967 w 4528998"/>
                  <a:gd name="connsiteY26" fmla="*/ 4048081 h 4048081"/>
                  <a:gd name="connsiteX27" fmla="*/ 1683857 w 4528998"/>
                  <a:gd name="connsiteY27" fmla="*/ 3763907 h 4048081"/>
                  <a:gd name="connsiteX28" fmla="*/ 1683857 w 4528998"/>
                  <a:gd name="connsiteY28" fmla="*/ 2852182 h 4048081"/>
                  <a:gd name="connsiteX29" fmla="*/ 1398873 w 4528998"/>
                  <a:gd name="connsiteY29" fmla="*/ 2568008 h 4048081"/>
                  <a:gd name="connsiteX30" fmla="*/ 1398873 w 4528998"/>
                  <a:gd name="connsiteY30" fmla="*/ 1277385 h 4048081"/>
                  <a:gd name="connsiteX31" fmla="*/ 1683857 w 4528998"/>
                  <a:gd name="connsiteY31" fmla="*/ 993211 h 4048081"/>
                  <a:gd name="connsiteX32" fmla="*/ 3881909 w 4528998"/>
                  <a:gd name="connsiteY32" fmla="*/ 245790 h 4048081"/>
                  <a:gd name="connsiteX33" fmla="*/ 4268158 w 4528998"/>
                  <a:gd name="connsiteY33" fmla="*/ 637055 h 4048081"/>
                  <a:gd name="connsiteX34" fmla="*/ 3881909 w 4528998"/>
                  <a:gd name="connsiteY34" fmla="*/ 1028320 h 4048081"/>
                  <a:gd name="connsiteX35" fmla="*/ 3495660 w 4528998"/>
                  <a:gd name="connsiteY35" fmla="*/ 637055 h 4048081"/>
                  <a:gd name="connsiteX36" fmla="*/ 3881909 w 4528998"/>
                  <a:gd name="connsiteY36" fmla="*/ 245790 h 4048081"/>
                  <a:gd name="connsiteX37" fmla="*/ 2156320 w 4528998"/>
                  <a:gd name="connsiteY37" fmla="*/ 0 h 4048081"/>
                  <a:gd name="connsiteX38" fmla="*/ 2607781 w 4528998"/>
                  <a:gd name="connsiteY38" fmla="*/ 453969 h 4048081"/>
                  <a:gd name="connsiteX39" fmla="*/ 2156320 w 4528998"/>
                  <a:gd name="connsiteY39" fmla="*/ 907938 h 4048081"/>
                  <a:gd name="connsiteX40" fmla="*/ 1704859 w 4528998"/>
                  <a:gd name="connsiteY40" fmla="*/ 453969 h 4048081"/>
                  <a:gd name="connsiteX41" fmla="*/ 2156320 w 4528998"/>
                  <a:gd name="connsiteY41" fmla="*/ 0 h 4048081"/>
                  <a:gd name="connsiteX0" fmla="*/ 3214011 w 4270732"/>
                  <a:gd name="connsiteY0" fmla="*/ 1098549 h 4048081"/>
                  <a:gd name="connsiteX1" fmla="*/ 4033267 w 4270732"/>
                  <a:gd name="connsiteY1" fmla="*/ 1098549 h 4048081"/>
                  <a:gd name="connsiteX2" fmla="*/ 4270732 w 4270732"/>
                  <a:gd name="connsiteY2" fmla="*/ 1335514 h 4048081"/>
                  <a:gd name="connsiteX3" fmla="*/ 4270732 w 4270732"/>
                  <a:gd name="connsiteY3" fmla="*/ 2449249 h 4048081"/>
                  <a:gd name="connsiteX4" fmla="*/ 4033267 w 4270732"/>
                  <a:gd name="connsiteY4" fmla="*/ 2686214 h 4048081"/>
                  <a:gd name="connsiteX5" fmla="*/ 4033267 w 4270732"/>
                  <a:gd name="connsiteY5" fmla="*/ 3480046 h 4048081"/>
                  <a:gd name="connsiteX6" fmla="*/ 3795802 w 4270732"/>
                  <a:gd name="connsiteY6" fmla="*/ 3717011 h 4048081"/>
                  <a:gd name="connsiteX7" fmla="*/ 3439603 w 4270732"/>
                  <a:gd name="connsiteY7" fmla="*/ 3717011 h 4048081"/>
                  <a:gd name="connsiteX8" fmla="*/ 3214011 w 4270732"/>
                  <a:gd name="connsiteY8" fmla="*/ 3480046 h 4048081"/>
                  <a:gd name="connsiteX9" fmla="*/ 3214011 w 4270732"/>
                  <a:gd name="connsiteY9" fmla="*/ 2686214 h 4048081"/>
                  <a:gd name="connsiteX10" fmla="*/ 2976545 w 4270732"/>
                  <a:gd name="connsiteY10" fmla="*/ 2449249 h 4048081"/>
                  <a:gd name="connsiteX11" fmla="*/ 2976545 w 4270732"/>
                  <a:gd name="connsiteY11" fmla="*/ 1335514 h 4048081"/>
                  <a:gd name="connsiteX12" fmla="*/ 3214011 w 4270732"/>
                  <a:gd name="connsiteY12" fmla="*/ 1098549 h 4048081"/>
                  <a:gd name="connsiteX13" fmla="*/ 3488 w 4270732"/>
                  <a:gd name="connsiteY13" fmla="*/ 3717011 h 4048081"/>
                  <a:gd name="connsiteX14" fmla="*/ 583025 w 4270732"/>
                  <a:gd name="connsiteY14" fmla="*/ 2686214 h 4048081"/>
                  <a:gd name="connsiteX15" fmla="*/ 583025 w 4270732"/>
                  <a:gd name="connsiteY15" fmla="*/ 3480046 h 4048081"/>
                  <a:gd name="connsiteX16" fmla="*/ 358307 w 4270732"/>
                  <a:gd name="connsiteY16" fmla="*/ 3717011 h 4048081"/>
                  <a:gd name="connsiteX17" fmla="*/ 3488 w 4270732"/>
                  <a:gd name="connsiteY17" fmla="*/ 3717011 h 4048081"/>
                  <a:gd name="connsiteX18" fmla="*/ 1425591 w 4270732"/>
                  <a:gd name="connsiteY18" fmla="*/ 993211 h 4048081"/>
                  <a:gd name="connsiteX19" fmla="*/ 2375538 w 4270732"/>
                  <a:gd name="connsiteY19" fmla="*/ 993211 h 4048081"/>
                  <a:gd name="connsiteX20" fmla="*/ 2660522 w 4270732"/>
                  <a:gd name="connsiteY20" fmla="*/ 1277385 h 4048081"/>
                  <a:gd name="connsiteX21" fmla="*/ 2660522 w 4270732"/>
                  <a:gd name="connsiteY21" fmla="*/ 2568008 h 4048081"/>
                  <a:gd name="connsiteX22" fmla="*/ 2375538 w 4270732"/>
                  <a:gd name="connsiteY22" fmla="*/ 2852182 h 4048081"/>
                  <a:gd name="connsiteX23" fmla="*/ 2375538 w 4270732"/>
                  <a:gd name="connsiteY23" fmla="*/ 3763907 h 4048081"/>
                  <a:gd name="connsiteX24" fmla="*/ 2102428 w 4270732"/>
                  <a:gd name="connsiteY24" fmla="*/ 4048081 h 4048081"/>
                  <a:gd name="connsiteX25" fmla="*/ 1698701 w 4270732"/>
                  <a:gd name="connsiteY25" fmla="*/ 4048081 h 4048081"/>
                  <a:gd name="connsiteX26" fmla="*/ 1425591 w 4270732"/>
                  <a:gd name="connsiteY26" fmla="*/ 3763907 h 4048081"/>
                  <a:gd name="connsiteX27" fmla="*/ 1425591 w 4270732"/>
                  <a:gd name="connsiteY27" fmla="*/ 2852182 h 4048081"/>
                  <a:gd name="connsiteX28" fmla="*/ 1140607 w 4270732"/>
                  <a:gd name="connsiteY28" fmla="*/ 2568008 h 4048081"/>
                  <a:gd name="connsiteX29" fmla="*/ 1140607 w 4270732"/>
                  <a:gd name="connsiteY29" fmla="*/ 1277385 h 4048081"/>
                  <a:gd name="connsiteX30" fmla="*/ 1425591 w 4270732"/>
                  <a:gd name="connsiteY30" fmla="*/ 993211 h 4048081"/>
                  <a:gd name="connsiteX31" fmla="*/ 3623643 w 4270732"/>
                  <a:gd name="connsiteY31" fmla="*/ 245790 h 4048081"/>
                  <a:gd name="connsiteX32" fmla="*/ 4009892 w 4270732"/>
                  <a:gd name="connsiteY32" fmla="*/ 637055 h 4048081"/>
                  <a:gd name="connsiteX33" fmla="*/ 3623643 w 4270732"/>
                  <a:gd name="connsiteY33" fmla="*/ 1028320 h 4048081"/>
                  <a:gd name="connsiteX34" fmla="*/ 3237394 w 4270732"/>
                  <a:gd name="connsiteY34" fmla="*/ 637055 h 4048081"/>
                  <a:gd name="connsiteX35" fmla="*/ 3623643 w 4270732"/>
                  <a:gd name="connsiteY35" fmla="*/ 245790 h 4048081"/>
                  <a:gd name="connsiteX36" fmla="*/ 1898054 w 4270732"/>
                  <a:gd name="connsiteY36" fmla="*/ 0 h 4048081"/>
                  <a:gd name="connsiteX37" fmla="*/ 2349515 w 4270732"/>
                  <a:gd name="connsiteY37" fmla="*/ 453969 h 4048081"/>
                  <a:gd name="connsiteX38" fmla="*/ 1898054 w 4270732"/>
                  <a:gd name="connsiteY38" fmla="*/ 907938 h 4048081"/>
                  <a:gd name="connsiteX39" fmla="*/ 1446593 w 4270732"/>
                  <a:gd name="connsiteY39" fmla="*/ 453969 h 4048081"/>
                  <a:gd name="connsiteX40" fmla="*/ 1898054 w 4270732"/>
                  <a:gd name="connsiteY40" fmla="*/ 0 h 4048081"/>
                  <a:gd name="connsiteX0" fmla="*/ 2855704 w 3912425"/>
                  <a:gd name="connsiteY0" fmla="*/ 1098549 h 4048081"/>
                  <a:gd name="connsiteX1" fmla="*/ 3674960 w 3912425"/>
                  <a:gd name="connsiteY1" fmla="*/ 1098549 h 4048081"/>
                  <a:gd name="connsiteX2" fmla="*/ 3912425 w 3912425"/>
                  <a:gd name="connsiteY2" fmla="*/ 1335514 h 4048081"/>
                  <a:gd name="connsiteX3" fmla="*/ 3912425 w 3912425"/>
                  <a:gd name="connsiteY3" fmla="*/ 2449249 h 4048081"/>
                  <a:gd name="connsiteX4" fmla="*/ 3674960 w 3912425"/>
                  <a:gd name="connsiteY4" fmla="*/ 2686214 h 4048081"/>
                  <a:gd name="connsiteX5" fmla="*/ 3674960 w 3912425"/>
                  <a:gd name="connsiteY5" fmla="*/ 3480046 h 4048081"/>
                  <a:gd name="connsiteX6" fmla="*/ 3437495 w 3912425"/>
                  <a:gd name="connsiteY6" fmla="*/ 3717011 h 4048081"/>
                  <a:gd name="connsiteX7" fmla="*/ 3081296 w 3912425"/>
                  <a:gd name="connsiteY7" fmla="*/ 3717011 h 4048081"/>
                  <a:gd name="connsiteX8" fmla="*/ 2855704 w 3912425"/>
                  <a:gd name="connsiteY8" fmla="*/ 3480046 h 4048081"/>
                  <a:gd name="connsiteX9" fmla="*/ 2855704 w 3912425"/>
                  <a:gd name="connsiteY9" fmla="*/ 2686214 h 4048081"/>
                  <a:gd name="connsiteX10" fmla="*/ 2618238 w 3912425"/>
                  <a:gd name="connsiteY10" fmla="*/ 2449249 h 4048081"/>
                  <a:gd name="connsiteX11" fmla="*/ 2618238 w 3912425"/>
                  <a:gd name="connsiteY11" fmla="*/ 1335514 h 4048081"/>
                  <a:gd name="connsiteX12" fmla="*/ 2855704 w 3912425"/>
                  <a:gd name="connsiteY12" fmla="*/ 1098549 h 4048081"/>
                  <a:gd name="connsiteX13" fmla="*/ 0 w 3912425"/>
                  <a:gd name="connsiteY13" fmla="*/ 3717011 h 4048081"/>
                  <a:gd name="connsiteX14" fmla="*/ 224718 w 3912425"/>
                  <a:gd name="connsiteY14" fmla="*/ 2686214 h 4048081"/>
                  <a:gd name="connsiteX15" fmla="*/ 224718 w 3912425"/>
                  <a:gd name="connsiteY15" fmla="*/ 3480046 h 4048081"/>
                  <a:gd name="connsiteX16" fmla="*/ 0 w 3912425"/>
                  <a:gd name="connsiteY16" fmla="*/ 3717011 h 4048081"/>
                  <a:gd name="connsiteX17" fmla="*/ 1067284 w 3912425"/>
                  <a:gd name="connsiteY17" fmla="*/ 993211 h 4048081"/>
                  <a:gd name="connsiteX18" fmla="*/ 2017231 w 3912425"/>
                  <a:gd name="connsiteY18" fmla="*/ 993211 h 4048081"/>
                  <a:gd name="connsiteX19" fmla="*/ 2302215 w 3912425"/>
                  <a:gd name="connsiteY19" fmla="*/ 1277385 h 4048081"/>
                  <a:gd name="connsiteX20" fmla="*/ 2302215 w 3912425"/>
                  <a:gd name="connsiteY20" fmla="*/ 2568008 h 4048081"/>
                  <a:gd name="connsiteX21" fmla="*/ 2017231 w 3912425"/>
                  <a:gd name="connsiteY21" fmla="*/ 2852182 h 4048081"/>
                  <a:gd name="connsiteX22" fmla="*/ 2017231 w 3912425"/>
                  <a:gd name="connsiteY22" fmla="*/ 3763907 h 4048081"/>
                  <a:gd name="connsiteX23" fmla="*/ 1744121 w 3912425"/>
                  <a:gd name="connsiteY23" fmla="*/ 4048081 h 4048081"/>
                  <a:gd name="connsiteX24" fmla="*/ 1340394 w 3912425"/>
                  <a:gd name="connsiteY24" fmla="*/ 4048081 h 4048081"/>
                  <a:gd name="connsiteX25" fmla="*/ 1067284 w 3912425"/>
                  <a:gd name="connsiteY25" fmla="*/ 3763907 h 4048081"/>
                  <a:gd name="connsiteX26" fmla="*/ 1067284 w 3912425"/>
                  <a:gd name="connsiteY26" fmla="*/ 2852182 h 4048081"/>
                  <a:gd name="connsiteX27" fmla="*/ 782300 w 3912425"/>
                  <a:gd name="connsiteY27" fmla="*/ 2568008 h 4048081"/>
                  <a:gd name="connsiteX28" fmla="*/ 782300 w 3912425"/>
                  <a:gd name="connsiteY28" fmla="*/ 1277385 h 4048081"/>
                  <a:gd name="connsiteX29" fmla="*/ 1067284 w 3912425"/>
                  <a:gd name="connsiteY29" fmla="*/ 993211 h 4048081"/>
                  <a:gd name="connsiteX30" fmla="*/ 3265336 w 3912425"/>
                  <a:gd name="connsiteY30" fmla="*/ 245790 h 4048081"/>
                  <a:gd name="connsiteX31" fmla="*/ 3651585 w 3912425"/>
                  <a:gd name="connsiteY31" fmla="*/ 637055 h 4048081"/>
                  <a:gd name="connsiteX32" fmla="*/ 3265336 w 3912425"/>
                  <a:gd name="connsiteY32" fmla="*/ 1028320 h 4048081"/>
                  <a:gd name="connsiteX33" fmla="*/ 2879087 w 3912425"/>
                  <a:gd name="connsiteY33" fmla="*/ 637055 h 4048081"/>
                  <a:gd name="connsiteX34" fmla="*/ 3265336 w 3912425"/>
                  <a:gd name="connsiteY34" fmla="*/ 245790 h 4048081"/>
                  <a:gd name="connsiteX35" fmla="*/ 1539747 w 3912425"/>
                  <a:gd name="connsiteY35" fmla="*/ 0 h 4048081"/>
                  <a:gd name="connsiteX36" fmla="*/ 1991208 w 3912425"/>
                  <a:gd name="connsiteY36" fmla="*/ 453969 h 4048081"/>
                  <a:gd name="connsiteX37" fmla="*/ 1539747 w 3912425"/>
                  <a:gd name="connsiteY37" fmla="*/ 907938 h 4048081"/>
                  <a:gd name="connsiteX38" fmla="*/ 1088286 w 3912425"/>
                  <a:gd name="connsiteY38" fmla="*/ 453969 h 4048081"/>
                  <a:gd name="connsiteX39" fmla="*/ 1539747 w 3912425"/>
                  <a:gd name="connsiteY39"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0 w 3687707"/>
                  <a:gd name="connsiteY13" fmla="*/ 3480046 h 4048081"/>
                  <a:gd name="connsiteX14" fmla="*/ 0 w 3687707"/>
                  <a:gd name="connsiteY14" fmla="*/ 2686214 h 4048081"/>
                  <a:gd name="connsiteX15" fmla="*/ 0 w 3687707"/>
                  <a:gd name="connsiteY15" fmla="*/ 3480046 h 4048081"/>
                  <a:gd name="connsiteX16" fmla="*/ 842566 w 3687707"/>
                  <a:gd name="connsiteY16" fmla="*/ 993211 h 4048081"/>
                  <a:gd name="connsiteX17" fmla="*/ 1792513 w 3687707"/>
                  <a:gd name="connsiteY17" fmla="*/ 993211 h 4048081"/>
                  <a:gd name="connsiteX18" fmla="*/ 2077497 w 3687707"/>
                  <a:gd name="connsiteY18" fmla="*/ 1277385 h 4048081"/>
                  <a:gd name="connsiteX19" fmla="*/ 2077497 w 3687707"/>
                  <a:gd name="connsiteY19" fmla="*/ 2568008 h 4048081"/>
                  <a:gd name="connsiteX20" fmla="*/ 1792513 w 3687707"/>
                  <a:gd name="connsiteY20" fmla="*/ 2852182 h 4048081"/>
                  <a:gd name="connsiteX21" fmla="*/ 1792513 w 3687707"/>
                  <a:gd name="connsiteY21" fmla="*/ 3763907 h 4048081"/>
                  <a:gd name="connsiteX22" fmla="*/ 1519403 w 3687707"/>
                  <a:gd name="connsiteY22" fmla="*/ 4048081 h 4048081"/>
                  <a:gd name="connsiteX23" fmla="*/ 1115676 w 3687707"/>
                  <a:gd name="connsiteY23" fmla="*/ 4048081 h 4048081"/>
                  <a:gd name="connsiteX24" fmla="*/ 842566 w 3687707"/>
                  <a:gd name="connsiteY24" fmla="*/ 3763907 h 4048081"/>
                  <a:gd name="connsiteX25" fmla="*/ 842566 w 3687707"/>
                  <a:gd name="connsiteY25" fmla="*/ 2852182 h 4048081"/>
                  <a:gd name="connsiteX26" fmla="*/ 557582 w 3687707"/>
                  <a:gd name="connsiteY26" fmla="*/ 2568008 h 4048081"/>
                  <a:gd name="connsiteX27" fmla="*/ 557582 w 3687707"/>
                  <a:gd name="connsiteY27" fmla="*/ 1277385 h 4048081"/>
                  <a:gd name="connsiteX28" fmla="*/ 842566 w 3687707"/>
                  <a:gd name="connsiteY28" fmla="*/ 993211 h 4048081"/>
                  <a:gd name="connsiteX29" fmla="*/ 3040618 w 3687707"/>
                  <a:gd name="connsiteY29" fmla="*/ 245790 h 4048081"/>
                  <a:gd name="connsiteX30" fmla="*/ 3426867 w 3687707"/>
                  <a:gd name="connsiteY30" fmla="*/ 637055 h 4048081"/>
                  <a:gd name="connsiteX31" fmla="*/ 3040618 w 3687707"/>
                  <a:gd name="connsiteY31" fmla="*/ 1028320 h 4048081"/>
                  <a:gd name="connsiteX32" fmla="*/ 2654369 w 3687707"/>
                  <a:gd name="connsiteY32" fmla="*/ 637055 h 4048081"/>
                  <a:gd name="connsiteX33" fmla="*/ 3040618 w 3687707"/>
                  <a:gd name="connsiteY33" fmla="*/ 245790 h 4048081"/>
                  <a:gd name="connsiteX34" fmla="*/ 1315029 w 3687707"/>
                  <a:gd name="connsiteY34" fmla="*/ 0 h 4048081"/>
                  <a:gd name="connsiteX35" fmla="*/ 1766490 w 3687707"/>
                  <a:gd name="connsiteY35" fmla="*/ 453969 h 4048081"/>
                  <a:gd name="connsiteX36" fmla="*/ 1315029 w 3687707"/>
                  <a:gd name="connsiteY36" fmla="*/ 907938 h 4048081"/>
                  <a:gd name="connsiteX37" fmla="*/ 863568 w 3687707"/>
                  <a:gd name="connsiteY37" fmla="*/ 453969 h 4048081"/>
                  <a:gd name="connsiteX38" fmla="*/ 1315029 w 3687707"/>
                  <a:gd name="connsiteY38"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483035 w 3130124"/>
                  <a:gd name="connsiteY26" fmla="*/ 245790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2483035 w 3130124"/>
                  <a:gd name="connsiteY30" fmla="*/ 245790 h 4048081"/>
                  <a:gd name="connsiteX31" fmla="*/ 757446 w 3130124"/>
                  <a:gd name="connsiteY31" fmla="*/ 0 h 4048081"/>
                  <a:gd name="connsiteX32" fmla="*/ 1208907 w 3130124"/>
                  <a:gd name="connsiteY32" fmla="*/ 453969 h 4048081"/>
                  <a:gd name="connsiteX33" fmla="*/ 757446 w 3130124"/>
                  <a:gd name="connsiteY33" fmla="*/ 907938 h 4048081"/>
                  <a:gd name="connsiteX34" fmla="*/ 305985 w 3130124"/>
                  <a:gd name="connsiteY34" fmla="*/ 453969 h 4048081"/>
                  <a:gd name="connsiteX35" fmla="*/ 757446 w 3130124"/>
                  <a:gd name="connsiteY35"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757446 w 3130124"/>
                  <a:gd name="connsiteY30" fmla="*/ 0 h 4048081"/>
                  <a:gd name="connsiteX31" fmla="*/ 1208907 w 3130124"/>
                  <a:gd name="connsiteY31" fmla="*/ 453969 h 4048081"/>
                  <a:gd name="connsiteX32" fmla="*/ 757446 w 3130124"/>
                  <a:gd name="connsiteY32" fmla="*/ 907938 h 4048081"/>
                  <a:gd name="connsiteX33" fmla="*/ 305985 w 3130124"/>
                  <a:gd name="connsiteY33" fmla="*/ 453969 h 4048081"/>
                  <a:gd name="connsiteX34" fmla="*/ 757446 w 3130124"/>
                  <a:gd name="connsiteY34"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483035 w 3130124"/>
                  <a:gd name="connsiteY27" fmla="*/ 1028320 h 4048081"/>
                  <a:gd name="connsiteX28" fmla="*/ 2096786 w 3130124"/>
                  <a:gd name="connsiteY28" fmla="*/ 637055 h 4048081"/>
                  <a:gd name="connsiteX29" fmla="*/ 757446 w 3130124"/>
                  <a:gd name="connsiteY29" fmla="*/ 0 h 4048081"/>
                  <a:gd name="connsiteX30" fmla="*/ 1208907 w 3130124"/>
                  <a:gd name="connsiteY30" fmla="*/ 453969 h 4048081"/>
                  <a:gd name="connsiteX31" fmla="*/ 757446 w 3130124"/>
                  <a:gd name="connsiteY31" fmla="*/ 907938 h 4048081"/>
                  <a:gd name="connsiteX32" fmla="*/ 305985 w 3130124"/>
                  <a:gd name="connsiteY32" fmla="*/ 453969 h 4048081"/>
                  <a:gd name="connsiteX33" fmla="*/ 757446 w 3130124"/>
                  <a:gd name="connsiteY33"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757446 w 3130124"/>
                  <a:gd name="connsiteY26" fmla="*/ 0 h 4048081"/>
                  <a:gd name="connsiteX27" fmla="*/ 1208907 w 3130124"/>
                  <a:gd name="connsiteY27" fmla="*/ 453969 h 4048081"/>
                  <a:gd name="connsiteX28" fmla="*/ 757446 w 3130124"/>
                  <a:gd name="connsiteY28" fmla="*/ 907938 h 4048081"/>
                  <a:gd name="connsiteX29" fmla="*/ 305985 w 3130124"/>
                  <a:gd name="connsiteY29" fmla="*/ 453969 h 4048081"/>
                  <a:gd name="connsiteX30" fmla="*/ 757446 w 3130124"/>
                  <a:gd name="connsiteY30" fmla="*/ 0 h 4048081"/>
                  <a:gd name="connsiteX0" fmla="*/ 2073403 w 3130124"/>
                  <a:gd name="connsiteY0" fmla="*/ 1098549 h 4048081"/>
                  <a:gd name="connsiteX1" fmla="*/ 3130124 w 3130124"/>
                  <a:gd name="connsiteY1" fmla="*/ 1335514 h 4048081"/>
                  <a:gd name="connsiteX2" fmla="*/ 3130124 w 3130124"/>
                  <a:gd name="connsiteY2" fmla="*/ 2449249 h 4048081"/>
                  <a:gd name="connsiteX3" fmla="*/ 2892659 w 3130124"/>
                  <a:gd name="connsiteY3" fmla="*/ 2686214 h 4048081"/>
                  <a:gd name="connsiteX4" fmla="*/ 2892659 w 3130124"/>
                  <a:gd name="connsiteY4" fmla="*/ 3480046 h 4048081"/>
                  <a:gd name="connsiteX5" fmla="*/ 2655194 w 3130124"/>
                  <a:gd name="connsiteY5" fmla="*/ 3717011 h 4048081"/>
                  <a:gd name="connsiteX6" fmla="*/ 2298995 w 3130124"/>
                  <a:gd name="connsiteY6" fmla="*/ 3717011 h 4048081"/>
                  <a:gd name="connsiteX7" fmla="*/ 2073403 w 3130124"/>
                  <a:gd name="connsiteY7" fmla="*/ 3480046 h 4048081"/>
                  <a:gd name="connsiteX8" fmla="*/ 2073403 w 3130124"/>
                  <a:gd name="connsiteY8" fmla="*/ 2686214 h 4048081"/>
                  <a:gd name="connsiteX9" fmla="*/ 1835937 w 3130124"/>
                  <a:gd name="connsiteY9" fmla="*/ 2449249 h 4048081"/>
                  <a:gd name="connsiteX10" fmla="*/ 1835937 w 3130124"/>
                  <a:gd name="connsiteY10" fmla="*/ 1335514 h 4048081"/>
                  <a:gd name="connsiteX11" fmla="*/ 2073403 w 3130124"/>
                  <a:gd name="connsiteY11" fmla="*/ 1098549 h 4048081"/>
                  <a:gd name="connsiteX12" fmla="*/ 284983 w 3130124"/>
                  <a:gd name="connsiteY12" fmla="*/ 993211 h 4048081"/>
                  <a:gd name="connsiteX13" fmla="*/ 1234930 w 3130124"/>
                  <a:gd name="connsiteY13" fmla="*/ 993211 h 4048081"/>
                  <a:gd name="connsiteX14" fmla="*/ 1519914 w 3130124"/>
                  <a:gd name="connsiteY14" fmla="*/ 1277385 h 4048081"/>
                  <a:gd name="connsiteX15" fmla="*/ 1519914 w 3130124"/>
                  <a:gd name="connsiteY15" fmla="*/ 2568008 h 4048081"/>
                  <a:gd name="connsiteX16" fmla="*/ 1234930 w 3130124"/>
                  <a:gd name="connsiteY16" fmla="*/ 2852182 h 4048081"/>
                  <a:gd name="connsiteX17" fmla="*/ 1234930 w 3130124"/>
                  <a:gd name="connsiteY17" fmla="*/ 3763907 h 4048081"/>
                  <a:gd name="connsiteX18" fmla="*/ 961820 w 3130124"/>
                  <a:gd name="connsiteY18" fmla="*/ 4048081 h 4048081"/>
                  <a:gd name="connsiteX19" fmla="*/ 558093 w 3130124"/>
                  <a:gd name="connsiteY19" fmla="*/ 4048081 h 4048081"/>
                  <a:gd name="connsiteX20" fmla="*/ 284983 w 3130124"/>
                  <a:gd name="connsiteY20" fmla="*/ 3763907 h 4048081"/>
                  <a:gd name="connsiteX21" fmla="*/ 284983 w 3130124"/>
                  <a:gd name="connsiteY21" fmla="*/ 2852182 h 4048081"/>
                  <a:gd name="connsiteX22" fmla="*/ -1 w 3130124"/>
                  <a:gd name="connsiteY22" fmla="*/ 2568008 h 4048081"/>
                  <a:gd name="connsiteX23" fmla="*/ -1 w 3130124"/>
                  <a:gd name="connsiteY23" fmla="*/ 1277385 h 4048081"/>
                  <a:gd name="connsiteX24" fmla="*/ 284983 w 3130124"/>
                  <a:gd name="connsiteY24" fmla="*/ 993211 h 4048081"/>
                  <a:gd name="connsiteX25" fmla="*/ 757446 w 3130124"/>
                  <a:gd name="connsiteY25" fmla="*/ 0 h 4048081"/>
                  <a:gd name="connsiteX26" fmla="*/ 1208907 w 3130124"/>
                  <a:gd name="connsiteY26" fmla="*/ 453969 h 4048081"/>
                  <a:gd name="connsiteX27" fmla="*/ 757446 w 3130124"/>
                  <a:gd name="connsiteY27" fmla="*/ 907938 h 4048081"/>
                  <a:gd name="connsiteX28" fmla="*/ 305985 w 3130124"/>
                  <a:gd name="connsiteY28" fmla="*/ 453969 h 4048081"/>
                  <a:gd name="connsiteX29" fmla="*/ 757446 w 3130124"/>
                  <a:gd name="connsiteY29" fmla="*/ 0 h 4048081"/>
                  <a:gd name="connsiteX0" fmla="*/ 2073403 w 3130124"/>
                  <a:gd name="connsiteY0" fmla="*/ 1098549 h 4048081"/>
                  <a:gd name="connsiteX1" fmla="*/ 3130124 w 3130124"/>
                  <a:gd name="connsiteY1" fmla="*/ 2449249 h 4048081"/>
                  <a:gd name="connsiteX2" fmla="*/ 2892659 w 3130124"/>
                  <a:gd name="connsiteY2" fmla="*/ 2686214 h 4048081"/>
                  <a:gd name="connsiteX3" fmla="*/ 2892659 w 3130124"/>
                  <a:gd name="connsiteY3" fmla="*/ 3480046 h 4048081"/>
                  <a:gd name="connsiteX4" fmla="*/ 2655194 w 3130124"/>
                  <a:gd name="connsiteY4" fmla="*/ 3717011 h 4048081"/>
                  <a:gd name="connsiteX5" fmla="*/ 2298995 w 3130124"/>
                  <a:gd name="connsiteY5" fmla="*/ 3717011 h 4048081"/>
                  <a:gd name="connsiteX6" fmla="*/ 2073403 w 3130124"/>
                  <a:gd name="connsiteY6" fmla="*/ 3480046 h 4048081"/>
                  <a:gd name="connsiteX7" fmla="*/ 2073403 w 3130124"/>
                  <a:gd name="connsiteY7" fmla="*/ 2686214 h 4048081"/>
                  <a:gd name="connsiteX8" fmla="*/ 1835937 w 3130124"/>
                  <a:gd name="connsiteY8" fmla="*/ 2449249 h 4048081"/>
                  <a:gd name="connsiteX9" fmla="*/ 1835937 w 3130124"/>
                  <a:gd name="connsiteY9" fmla="*/ 1335514 h 4048081"/>
                  <a:gd name="connsiteX10" fmla="*/ 2073403 w 3130124"/>
                  <a:gd name="connsiteY10" fmla="*/ 1098549 h 4048081"/>
                  <a:gd name="connsiteX11" fmla="*/ 284983 w 3130124"/>
                  <a:gd name="connsiteY11" fmla="*/ 993211 h 4048081"/>
                  <a:gd name="connsiteX12" fmla="*/ 1234930 w 3130124"/>
                  <a:gd name="connsiteY12" fmla="*/ 993211 h 4048081"/>
                  <a:gd name="connsiteX13" fmla="*/ 1519914 w 3130124"/>
                  <a:gd name="connsiteY13" fmla="*/ 1277385 h 4048081"/>
                  <a:gd name="connsiteX14" fmla="*/ 1519914 w 3130124"/>
                  <a:gd name="connsiteY14" fmla="*/ 2568008 h 4048081"/>
                  <a:gd name="connsiteX15" fmla="*/ 1234930 w 3130124"/>
                  <a:gd name="connsiteY15" fmla="*/ 2852182 h 4048081"/>
                  <a:gd name="connsiteX16" fmla="*/ 1234930 w 3130124"/>
                  <a:gd name="connsiteY16" fmla="*/ 3763907 h 4048081"/>
                  <a:gd name="connsiteX17" fmla="*/ 961820 w 3130124"/>
                  <a:gd name="connsiteY17" fmla="*/ 4048081 h 4048081"/>
                  <a:gd name="connsiteX18" fmla="*/ 558093 w 3130124"/>
                  <a:gd name="connsiteY18" fmla="*/ 4048081 h 4048081"/>
                  <a:gd name="connsiteX19" fmla="*/ 284983 w 3130124"/>
                  <a:gd name="connsiteY19" fmla="*/ 3763907 h 4048081"/>
                  <a:gd name="connsiteX20" fmla="*/ 284983 w 3130124"/>
                  <a:gd name="connsiteY20" fmla="*/ 2852182 h 4048081"/>
                  <a:gd name="connsiteX21" fmla="*/ -1 w 3130124"/>
                  <a:gd name="connsiteY21" fmla="*/ 2568008 h 4048081"/>
                  <a:gd name="connsiteX22" fmla="*/ -1 w 3130124"/>
                  <a:gd name="connsiteY22" fmla="*/ 1277385 h 4048081"/>
                  <a:gd name="connsiteX23" fmla="*/ 284983 w 3130124"/>
                  <a:gd name="connsiteY23" fmla="*/ 993211 h 4048081"/>
                  <a:gd name="connsiteX24" fmla="*/ 757446 w 3130124"/>
                  <a:gd name="connsiteY24" fmla="*/ 0 h 4048081"/>
                  <a:gd name="connsiteX25" fmla="*/ 1208907 w 3130124"/>
                  <a:gd name="connsiteY25" fmla="*/ 453969 h 4048081"/>
                  <a:gd name="connsiteX26" fmla="*/ 757446 w 3130124"/>
                  <a:gd name="connsiteY26" fmla="*/ 907938 h 4048081"/>
                  <a:gd name="connsiteX27" fmla="*/ 305985 w 3130124"/>
                  <a:gd name="connsiteY27" fmla="*/ 453969 h 4048081"/>
                  <a:gd name="connsiteX28" fmla="*/ 757446 w 3130124"/>
                  <a:gd name="connsiteY28"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6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6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7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7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1835937 w 3186245"/>
                  <a:gd name="connsiteY7" fmla="*/ 1335514 h 4048081"/>
                  <a:gd name="connsiteX8" fmla="*/ 284983 w 3186245"/>
                  <a:gd name="connsiteY8" fmla="*/ 993211 h 4048081"/>
                  <a:gd name="connsiteX9" fmla="*/ 1234930 w 3186245"/>
                  <a:gd name="connsiteY9" fmla="*/ 993211 h 4048081"/>
                  <a:gd name="connsiteX10" fmla="*/ 1519914 w 3186245"/>
                  <a:gd name="connsiteY10" fmla="*/ 1277385 h 4048081"/>
                  <a:gd name="connsiteX11" fmla="*/ 1519914 w 3186245"/>
                  <a:gd name="connsiteY11" fmla="*/ 2568008 h 4048081"/>
                  <a:gd name="connsiteX12" fmla="*/ 1234930 w 3186245"/>
                  <a:gd name="connsiteY12" fmla="*/ 2852182 h 4048081"/>
                  <a:gd name="connsiteX13" fmla="*/ 1234930 w 3186245"/>
                  <a:gd name="connsiteY13" fmla="*/ 3763907 h 4048081"/>
                  <a:gd name="connsiteX14" fmla="*/ 961820 w 3186245"/>
                  <a:gd name="connsiteY14" fmla="*/ 4048081 h 4048081"/>
                  <a:gd name="connsiteX15" fmla="*/ 558093 w 3186245"/>
                  <a:gd name="connsiteY15" fmla="*/ 4048081 h 4048081"/>
                  <a:gd name="connsiteX16" fmla="*/ 284983 w 3186245"/>
                  <a:gd name="connsiteY16" fmla="*/ 3763907 h 4048081"/>
                  <a:gd name="connsiteX17" fmla="*/ 284983 w 3186245"/>
                  <a:gd name="connsiteY17" fmla="*/ 2852182 h 4048081"/>
                  <a:gd name="connsiteX18" fmla="*/ -1 w 3186245"/>
                  <a:gd name="connsiteY18" fmla="*/ 2568008 h 4048081"/>
                  <a:gd name="connsiteX19" fmla="*/ -1 w 3186245"/>
                  <a:gd name="connsiteY19" fmla="*/ 1277385 h 4048081"/>
                  <a:gd name="connsiteX20" fmla="*/ 284983 w 3186245"/>
                  <a:gd name="connsiteY20" fmla="*/ 993211 h 4048081"/>
                  <a:gd name="connsiteX21" fmla="*/ 757447 w 3186245"/>
                  <a:gd name="connsiteY21" fmla="*/ 0 h 4048081"/>
                  <a:gd name="connsiteX22" fmla="*/ 1208907 w 3186245"/>
                  <a:gd name="connsiteY22" fmla="*/ 453969 h 4048081"/>
                  <a:gd name="connsiteX23" fmla="*/ 757446 w 3186245"/>
                  <a:gd name="connsiteY23" fmla="*/ 907938 h 4048081"/>
                  <a:gd name="connsiteX24" fmla="*/ 305985 w 3186245"/>
                  <a:gd name="connsiteY24" fmla="*/ 453969 h 4048081"/>
                  <a:gd name="connsiteX25" fmla="*/ 757447 w 3186245"/>
                  <a:gd name="connsiteY25"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1835937 w 3186245"/>
                  <a:gd name="connsiteY6" fmla="*/ 1335514 h 4048081"/>
                  <a:gd name="connsiteX7" fmla="*/ 284983 w 3186245"/>
                  <a:gd name="connsiteY7" fmla="*/ 993211 h 4048081"/>
                  <a:gd name="connsiteX8" fmla="*/ 1234930 w 3186245"/>
                  <a:gd name="connsiteY8" fmla="*/ 993211 h 4048081"/>
                  <a:gd name="connsiteX9" fmla="*/ 1519914 w 3186245"/>
                  <a:gd name="connsiteY9" fmla="*/ 1277385 h 4048081"/>
                  <a:gd name="connsiteX10" fmla="*/ 1519914 w 3186245"/>
                  <a:gd name="connsiteY10" fmla="*/ 2568008 h 4048081"/>
                  <a:gd name="connsiteX11" fmla="*/ 1234930 w 3186245"/>
                  <a:gd name="connsiteY11" fmla="*/ 2852182 h 4048081"/>
                  <a:gd name="connsiteX12" fmla="*/ 1234930 w 3186245"/>
                  <a:gd name="connsiteY12" fmla="*/ 3763907 h 4048081"/>
                  <a:gd name="connsiteX13" fmla="*/ 961820 w 3186245"/>
                  <a:gd name="connsiteY13" fmla="*/ 4048081 h 4048081"/>
                  <a:gd name="connsiteX14" fmla="*/ 558093 w 3186245"/>
                  <a:gd name="connsiteY14" fmla="*/ 4048081 h 4048081"/>
                  <a:gd name="connsiteX15" fmla="*/ 284983 w 3186245"/>
                  <a:gd name="connsiteY15" fmla="*/ 3763907 h 4048081"/>
                  <a:gd name="connsiteX16" fmla="*/ 284983 w 3186245"/>
                  <a:gd name="connsiteY16" fmla="*/ 2852182 h 4048081"/>
                  <a:gd name="connsiteX17" fmla="*/ -1 w 3186245"/>
                  <a:gd name="connsiteY17" fmla="*/ 2568008 h 4048081"/>
                  <a:gd name="connsiteX18" fmla="*/ -1 w 3186245"/>
                  <a:gd name="connsiteY18" fmla="*/ 1277385 h 4048081"/>
                  <a:gd name="connsiteX19" fmla="*/ 284983 w 3186245"/>
                  <a:gd name="connsiteY19" fmla="*/ 993211 h 4048081"/>
                  <a:gd name="connsiteX20" fmla="*/ 757447 w 3186245"/>
                  <a:gd name="connsiteY20" fmla="*/ 0 h 4048081"/>
                  <a:gd name="connsiteX21" fmla="*/ 1208907 w 3186245"/>
                  <a:gd name="connsiteY21" fmla="*/ 453969 h 4048081"/>
                  <a:gd name="connsiteX22" fmla="*/ 757446 w 3186245"/>
                  <a:gd name="connsiteY22" fmla="*/ 907938 h 4048081"/>
                  <a:gd name="connsiteX23" fmla="*/ 305985 w 3186245"/>
                  <a:gd name="connsiteY23" fmla="*/ 453969 h 4048081"/>
                  <a:gd name="connsiteX24" fmla="*/ 757447 w 3186245"/>
                  <a:gd name="connsiteY24"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1835937 w 3186245"/>
                  <a:gd name="connsiteY5" fmla="*/ 1335514 h 4048081"/>
                  <a:gd name="connsiteX6" fmla="*/ 284983 w 3186245"/>
                  <a:gd name="connsiteY6" fmla="*/ 993211 h 4048081"/>
                  <a:gd name="connsiteX7" fmla="*/ 1234930 w 3186245"/>
                  <a:gd name="connsiteY7" fmla="*/ 993211 h 4048081"/>
                  <a:gd name="connsiteX8" fmla="*/ 1519914 w 3186245"/>
                  <a:gd name="connsiteY8" fmla="*/ 1277385 h 4048081"/>
                  <a:gd name="connsiteX9" fmla="*/ 1519914 w 3186245"/>
                  <a:gd name="connsiteY9" fmla="*/ 2568008 h 4048081"/>
                  <a:gd name="connsiteX10" fmla="*/ 1234930 w 3186245"/>
                  <a:gd name="connsiteY10" fmla="*/ 2852182 h 4048081"/>
                  <a:gd name="connsiteX11" fmla="*/ 1234930 w 3186245"/>
                  <a:gd name="connsiteY11" fmla="*/ 3763907 h 4048081"/>
                  <a:gd name="connsiteX12" fmla="*/ 961820 w 3186245"/>
                  <a:gd name="connsiteY12" fmla="*/ 4048081 h 4048081"/>
                  <a:gd name="connsiteX13" fmla="*/ 558093 w 3186245"/>
                  <a:gd name="connsiteY13" fmla="*/ 4048081 h 4048081"/>
                  <a:gd name="connsiteX14" fmla="*/ 284983 w 3186245"/>
                  <a:gd name="connsiteY14" fmla="*/ 3763907 h 4048081"/>
                  <a:gd name="connsiteX15" fmla="*/ 284983 w 3186245"/>
                  <a:gd name="connsiteY15" fmla="*/ 2852182 h 4048081"/>
                  <a:gd name="connsiteX16" fmla="*/ -1 w 3186245"/>
                  <a:gd name="connsiteY16" fmla="*/ 2568008 h 4048081"/>
                  <a:gd name="connsiteX17" fmla="*/ -1 w 3186245"/>
                  <a:gd name="connsiteY17" fmla="*/ 1277385 h 4048081"/>
                  <a:gd name="connsiteX18" fmla="*/ 284983 w 3186245"/>
                  <a:gd name="connsiteY18" fmla="*/ 993211 h 4048081"/>
                  <a:gd name="connsiteX19" fmla="*/ 757447 w 3186245"/>
                  <a:gd name="connsiteY19" fmla="*/ 0 h 4048081"/>
                  <a:gd name="connsiteX20" fmla="*/ 1208907 w 3186245"/>
                  <a:gd name="connsiteY20" fmla="*/ 453969 h 4048081"/>
                  <a:gd name="connsiteX21" fmla="*/ 757446 w 3186245"/>
                  <a:gd name="connsiteY21" fmla="*/ 907938 h 4048081"/>
                  <a:gd name="connsiteX22" fmla="*/ 305985 w 3186245"/>
                  <a:gd name="connsiteY22" fmla="*/ 453969 h 4048081"/>
                  <a:gd name="connsiteX23" fmla="*/ 757447 w 3186245"/>
                  <a:gd name="connsiteY23"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1835937 w 3186245"/>
                  <a:gd name="connsiteY4" fmla="*/ 1335514 h 4048081"/>
                  <a:gd name="connsiteX5" fmla="*/ 284983 w 3186245"/>
                  <a:gd name="connsiteY5" fmla="*/ 993211 h 4048081"/>
                  <a:gd name="connsiteX6" fmla="*/ 1234930 w 3186245"/>
                  <a:gd name="connsiteY6" fmla="*/ 993211 h 4048081"/>
                  <a:gd name="connsiteX7" fmla="*/ 1519914 w 3186245"/>
                  <a:gd name="connsiteY7" fmla="*/ 1277385 h 4048081"/>
                  <a:gd name="connsiteX8" fmla="*/ 1519914 w 3186245"/>
                  <a:gd name="connsiteY8" fmla="*/ 2568008 h 4048081"/>
                  <a:gd name="connsiteX9" fmla="*/ 1234930 w 3186245"/>
                  <a:gd name="connsiteY9" fmla="*/ 2852182 h 4048081"/>
                  <a:gd name="connsiteX10" fmla="*/ 1234930 w 3186245"/>
                  <a:gd name="connsiteY10" fmla="*/ 3763907 h 4048081"/>
                  <a:gd name="connsiteX11" fmla="*/ 961820 w 3186245"/>
                  <a:gd name="connsiteY11" fmla="*/ 4048081 h 4048081"/>
                  <a:gd name="connsiteX12" fmla="*/ 558093 w 3186245"/>
                  <a:gd name="connsiteY12" fmla="*/ 4048081 h 4048081"/>
                  <a:gd name="connsiteX13" fmla="*/ 284983 w 3186245"/>
                  <a:gd name="connsiteY13" fmla="*/ 3763907 h 4048081"/>
                  <a:gd name="connsiteX14" fmla="*/ 284983 w 3186245"/>
                  <a:gd name="connsiteY14" fmla="*/ 2852182 h 4048081"/>
                  <a:gd name="connsiteX15" fmla="*/ -1 w 3186245"/>
                  <a:gd name="connsiteY15" fmla="*/ 2568008 h 4048081"/>
                  <a:gd name="connsiteX16" fmla="*/ -1 w 3186245"/>
                  <a:gd name="connsiteY16" fmla="*/ 1277385 h 4048081"/>
                  <a:gd name="connsiteX17" fmla="*/ 284983 w 3186245"/>
                  <a:gd name="connsiteY17" fmla="*/ 993211 h 4048081"/>
                  <a:gd name="connsiteX18" fmla="*/ 757447 w 3186245"/>
                  <a:gd name="connsiteY18" fmla="*/ 0 h 4048081"/>
                  <a:gd name="connsiteX19" fmla="*/ 1208907 w 3186245"/>
                  <a:gd name="connsiteY19" fmla="*/ 453969 h 4048081"/>
                  <a:gd name="connsiteX20" fmla="*/ 757446 w 3186245"/>
                  <a:gd name="connsiteY20" fmla="*/ 907938 h 4048081"/>
                  <a:gd name="connsiteX21" fmla="*/ 305985 w 3186245"/>
                  <a:gd name="connsiteY21" fmla="*/ 453969 h 4048081"/>
                  <a:gd name="connsiteX22" fmla="*/ 757447 w 3186245"/>
                  <a:gd name="connsiteY22"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30124"/>
                  <a:gd name="connsiteY0" fmla="*/ 1335514 h 4048081"/>
                  <a:gd name="connsiteX1" fmla="*/ 3130124 w 3130124"/>
                  <a:gd name="connsiteY1" fmla="*/ 2449249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1835937 w 3130124"/>
                  <a:gd name="connsiteY0" fmla="*/ 1335514 h 4048081"/>
                  <a:gd name="connsiteX1" fmla="*/ 3130124 w 3130124"/>
                  <a:gd name="connsiteY1" fmla="*/ 2449250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913" h="4048081">
                    <a:moveTo>
                      <a:pt x="284983" y="993211"/>
                    </a:moveTo>
                    <a:lnTo>
                      <a:pt x="1234930" y="993211"/>
                    </a:lnTo>
                    <a:cubicBezTo>
                      <a:pt x="1389296" y="993211"/>
                      <a:pt x="1519914" y="1123457"/>
                      <a:pt x="1519914" y="1277385"/>
                    </a:cubicBezTo>
                    <a:lnTo>
                      <a:pt x="1519914" y="2568008"/>
                    </a:lnTo>
                    <a:cubicBezTo>
                      <a:pt x="1519914" y="2721936"/>
                      <a:pt x="1389296" y="2852182"/>
                      <a:pt x="1234930" y="2852182"/>
                    </a:cubicBezTo>
                    <a:lnTo>
                      <a:pt x="1234930" y="3763907"/>
                    </a:lnTo>
                    <a:cubicBezTo>
                      <a:pt x="1234930" y="3917835"/>
                      <a:pt x="1116187" y="4048081"/>
                      <a:pt x="961820" y="4048081"/>
                    </a:cubicBezTo>
                    <a:lnTo>
                      <a:pt x="558093" y="4048081"/>
                    </a:lnTo>
                    <a:cubicBezTo>
                      <a:pt x="403726" y="4048081"/>
                      <a:pt x="284983" y="3917835"/>
                      <a:pt x="284983" y="3763907"/>
                    </a:cubicBezTo>
                    <a:lnTo>
                      <a:pt x="284983" y="2852182"/>
                    </a:lnTo>
                    <a:cubicBezTo>
                      <a:pt x="130617" y="2852182"/>
                      <a:pt x="-1" y="2721936"/>
                      <a:pt x="-1" y="2568008"/>
                    </a:cubicBezTo>
                    <a:lnTo>
                      <a:pt x="-1" y="1277385"/>
                    </a:lnTo>
                    <a:cubicBezTo>
                      <a:pt x="-1" y="1123457"/>
                      <a:pt x="130617" y="993211"/>
                      <a:pt x="284983" y="993211"/>
                    </a:cubicBezTo>
                    <a:close/>
                    <a:moveTo>
                      <a:pt x="757447" y="0"/>
                    </a:moveTo>
                    <a:cubicBezTo>
                      <a:pt x="1006782" y="0"/>
                      <a:pt x="1208908" y="198778"/>
                      <a:pt x="1208907" y="453969"/>
                    </a:cubicBezTo>
                    <a:cubicBezTo>
                      <a:pt x="1208906" y="709160"/>
                      <a:pt x="1006781" y="907938"/>
                      <a:pt x="757446" y="907938"/>
                    </a:cubicBezTo>
                    <a:cubicBezTo>
                      <a:pt x="508111" y="907938"/>
                      <a:pt x="298624" y="701997"/>
                      <a:pt x="305985" y="453969"/>
                    </a:cubicBezTo>
                    <a:cubicBezTo>
                      <a:pt x="313346" y="205941"/>
                      <a:pt x="508112" y="0"/>
                      <a:pt x="757447" y="0"/>
                    </a:cubicBezTo>
                    <a:close/>
                  </a:path>
                </a:pathLst>
              </a:custGeom>
              <a:solidFill>
                <a:schemeClr val="bg1"/>
              </a:solidFill>
              <a:ln w="12700">
                <a:solidFill>
                  <a:srgbClr val="0070C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 </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26" name="TextBox 25"/>
            <p:cNvSpPr txBox="1"/>
            <p:nvPr/>
          </p:nvSpPr>
          <p:spPr>
            <a:xfrm>
              <a:off x="3121621" y="4956483"/>
              <a:ext cx="18288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Developers 2+</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p:txBody>
        </p:sp>
      </p:grpSp>
      <p:grpSp>
        <p:nvGrpSpPr>
          <p:cNvPr id="72" name="Group 71"/>
          <p:cNvGrpSpPr/>
          <p:nvPr/>
        </p:nvGrpSpPr>
        <p:grpSpPr>
          <a:xfrm>
            <a:off x="3120574" y="2152588"/>
            <a:ext cx="1830894" cy="1266348"/>
            <a:chOff x="3120574" y="2256493"/>
            <a:chExt cx="1830894" cy="1266348"/>
          </a:xfrm>
        </p:grpSpPr>
        <p:sp>
          <p:nvSpPr>
            <p:cNvPr id="21" name="Freeform 48"/>
            <p:cNvSpPr>
              <a:spLocks noChangeAspect="1"/>
            </p:cNvSpPr>
            <p:nvPr/>
          </p:nvSpPr>
          <p:spPr bwMode="black">
            <a:xfrm flipH="1">
              <a:off x="3923907" y="2256493"/>
              <a:ext cx="224229" cy="613609"/>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367657 w 4740335"/>
                <a:gd name="connsiteY44" fmla="*/ 0 h 4048081"/>
                <a:gd name="connsiteX45" fmla="*/ 2819118 w 4740335"/>
                <a:gd name="connsiteY45" fmla="*/ 453969 h 4048081"/>
                <a:gd name="connsiteX46" fmla="*/ 2367657 w 4740335"/>
                <a:gd name="connsiteY46" fmla="*/ 907938 h 4048081"/>
                <a:gd name="connsiteX47" fmla="*/ 1916196 w 4740335"/>
                <a:gd name="connsiteY47" fmla="*/ 453969 h 4048081"/>
                <a:gd name="connsiteX48" fmla="*/ 2367657 w 4740335"/>
                <a:gd name="connsiteY48"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2367657 w 4740335"/>
                <a:gd name="connsiteY43" fmla="*/ 0 h 4048081"/>
                <a:gd name="connsiteX44" fmla="*/ 2819118 w 4740335"/>
                <a:gd name="connsiteY44" fmla="*/ 453969 h 4048081"/>
                <a:gd name="connsiteX45" fmla="*/ 2367657 w 4740335"/>
                <a:gd name="connsiteY45" fmla="*/ 907938 h 4048081"/>
                <a:gd name="connsiteX46" fmla="*/ 1916196 w 4740335"/>
                <a:gd name="connsiteY46" fmla="*/ 453969 h 4048081"/>
                <a:gd name="connsiteX47" fmla="*/ 2367657 w 4740335"/>
                <a:gd name="connsiteY47" fmla="*/ 0 h 4048081"/>
                <a:gd name="connsiteX0" fmla="*/ 3779109 w 4835830"/>
                <a:gd name="connsiteY0" fmla="*/ 1098549 h 4048081"/>
                <a:gd name="connsiteX1" fmla="*/ 4598365 w 4835830"/>
                <a:gd name="connsiteY1" fmla="*/ 1098549 h 4048081"/>
                <a:gd name="connsiteX2" fmla="*/ 4835830 w 4835830"/>
                <a:gd name="connsiteY2" fmla="*/ 1335514 h 4048081"/>
                <a:gd name="connsiteX3" fmla="*/ 4835830 w 4835830"/>
                <a:gd name="connsiteY3" fmla="*/ 2449249 h 4048081"/>
                <a:gd name="connsiteX4" fmla="*/ 4598365 w 4835830"/>
                <a:gd name="connsiteY4" fmla="*/ 2686214 h 4048081"/>
                <a:gd name="connsiteX5" fmla="*/ 4598365 w 4835830"/>
                <a:gd name="connsiteY5" fmla="*/ 3480046 h 4048081"/>
                <a:gd name="connsiteX6" fmla="*/ 4360900 w 4835830"/>
                <a:gd name="connsiteY6" fmla="*/ 3717011 h 4048081"/>
                <a:gd name="connsiteX7" fmla="*/ 4004701 w 4835830"/>
                <a:gd name="connsiteY7" fmla="*/ 3717011 h 4048081"/>
                <a:gd name="connsiteX8" fmla="*/ 3779109 w 4835830"/>
                <a:gd name="connsiteY8" fmla="*/ 3480046 h 4048081"/>
                <a:gd name="connsiteX9" fmla="*/ 3779109 w 4835830"/>
                <a:gd name="connsiteY9" fmla="*/ 2686214 h 4048081"/>
                <a:gd name="connsiteX10" fmla="*/ 3541643 w 4835830"/>
                <a:gd name="connsiteY10" fmla="*/ 2449249 h 4048081"/>
                <a:gd name="connsiteX11" fmla="*/ 3541643 w 4835830"/>
                <a:gd name="connsiteY11" fmla="*/ 1335514 h 4048081"/>
                <a:gd name="connsiteX12" fmla="*/ 3779109 w 4835830"/>
                <a:gd name="connsiteY12" fmla="*/ 1098549 h 4048081"/>
                <a:gd name="connsiteX13" fmla="*/ 95495 w 4835830"/>
                <a:gd name="connsiteY13" fmla="*/ 1335514 h 4048081"/>
                <a:gd name="connsiteX14" fmla="*/ 1384669 w 4835830"/>
                <a:gd name="connsiteY14" fmla="*/ 1335514 h 4048081"/>
                <a:gd name="connsiteX15" fmla="*/ 1384669 w 4835830"/>
                <a:gd name="connsiteY15" fmla="*/ 2449249 h 4048081"/>
                <a:gd name="connsiteX16" fmla="*/ 1148123 w 4835830"/>
                <a:gd name="connsiteY16" fmla="*/ 2686214 h 4048081"/>
                <a:gd name="connsiteX17" fmla="*/ 1148123 w 4835830"/>
                <a:gd name="connsiteY17" fmla="*/ 3480046 h 4048081"/>
                <a:gd name="connsiteX18" fmla="*/ 923405 w 4835830"/>
                <a:gd name="connsiteY18" fmla="*/ 3717011 h 4048081"/>
                <a:gd name="connsiteX19" fmla="*/ 568586 w 4835830"/>
                <a:gd name="connsiteY19" fmla="*/ 3717011 h 4048081"/>
                <a:gd name="connsiteX20" fmla="*/ 332041 w 4835830"/>
                <a:gd name="connsiteY20" fmla="*/ 3480046 h 4048081"/>
                <a:gd name="connsiteX21" fmla="*/ 332041 w 4835830"/>
                <a:gd name="connsiteY21" fmla="*/ 2686214 h 4048081"/>
                <a:gd name="connsiteX22" fmla="*/ 95495 w 4835830"/>
                <a:gd name="connsiteY22" fmla="*/ 2449249 h 4048081"/>
                <a:gd name="connsiteX23" fmla="*/ 95495 w 4835830"/>
                <a:gd name="connsiteY23" fmla="*/ 1335514 h 4048081"/>
                <a:gd name="connsiteX24" fmla="*/ 1990689 w 4835830"/>
                <a:gd name="connsiteY24" fmla="*/ 993211 h 4048081"/>
                <a:gd name="connsiteX25" fmla="*/ 2940636 w 4835830"/>
                <a:gd name="connsiteY25" fmla="*/ 993211 h 4048081"/>
                <a:gd name="connsiteX26" fmla="*/ 3225620 w 4835830"/>
                <a:gd name="connsiteY26" fmla="*/ 1277385 h 4048081"/>
                <a:gd name="connsiteX27" fmla="*/ 3225620 w 4835830"/>
                <a:gd name="connsiteY27" fmla="*/ 2568008 h 4048081"/>
                <a:gd name="connsiteX28" fmla="*/ 2940636 w 4835830"/>
                <a:gd name="connsiteY28" fmla="*/ 2852182 h 4048081"/>
                <a:gd name="connsiteX29" fmla="*/ 2940636 w 4835830"/>
                <a:gd name="connsiteY29" fmla="*/ 3763907 h 4048081"/>
                <a:gd name="connsiteX30" fmla="*/ 2667526 w 4835830"/>
                <a:gd name="connsiteY30" fmla="*/ 4048081 h 4048081"/>
                <a:gd name="connsiteX31" fmla="*/ 2263799 w 4835830"/>
                <a:gd name="connsiteY31" fmla="*/ 4048081 h 4048081"/>
                <a:gd name="connsiteX32" fmla="*/ 1990689 w 4835830"/>
                <a:gd name="connsiteY32" fmla="*/ 3763907 h 4048081"/>
                <a:gd name="connsiteX33" fmla="*/ 1990689 w 4835830"/>
                <a:gd name="connsiteY33" fmla="*/ 2852182 h 4048081"/>
                <a:gd name="connsiteX34" fmla="*/ 1705705 w 4835830"/>
                <a:gd name="connsiteY34" fmla="*/ 2568008 h 4048081"/>
                <a:gd name="connsiteX35" fmla="*/ 1705705 w 4835830"/>
                <a:gd name="connsiteY35" fmla="*/ 1277385 h 4048081"/>
                <a:gd name="connsiteX36" fmla="*/ 1990689 w 4835830"/>
                <a:gd name="connsiteY36" fmla="*/ 993211 h 4048081"/>
                <a:gd name="connsiteX37" fmla="*/ 4188741 w 4835830"/>
                <a:gd name="connsiteY37" fmla="*/ 245790 h 4048081"/>
                <a:gd name="connsiteX38" fmla="*/ 4574990 w 4835830"/>
                <a:gd name="connsiteY38" fmla="*/ 637055 h 4048081"/>
                <a:gd name="connsiteX39" fmla="*/ 4188741 w 4835830"/>
                <a:gd name="connsiteY39" fmla="*/ 1028320 h 4048081"/>
                <a:gd name="connsiteX40" fmla="*/ 3802492 w 4835830"/>
                <a:gd name="connsiteY40" fmla="*/ 637055 h 4048081"/>
                <a:gd name="connsiteX41" fmla="*/ 4188741 w 4835830"/>
                <a:gd name="connsiteY41" fmla="*/ 245790 h 4048081"/>
                <a:gd name="connsiteX42" fmla="*/ 2463152 w 4835830"/>
                <a:gd name="connsiteY42" fmla="*/ 0 h 4048081"/>
                <a:gd name="connsiteX43" fmla="*/ 2914613 w 4835830"/>
                <a:gd name="connsiteY43" fmla="*/ 453969 h 4048081"/>
                <a:gd name="connsiteX44" fmla="*/ 2463152 w 4835830"/>
                <a:gd name="connsiteY44" fmla="*/ 907938 h 4048081"/>
                <a:gd name="connsiteX45" fmla="*/ 2011691 w 4835830"/>
                <a:gd name="connsiteY45" fmla="*/ 453969 h 4048081"/>
                <a:gd name="connsiteX46" fmla="*/ 2463152 w 4835830"/>
                <a:gd name="connsiteY46"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1335514 h 4048081"/>
                <a:gd name="connsiteX15" fmla="*/ 1345079 w 4796240"/>
                <a:gd name="connsiteY15" fmla="*/ 2449249 h 4048081"/>
                <a:gd name="connsiteX16" fmla="*/ 1108533 w 4796240"/>
                <a:gd name="connsiteY16" fmla="*/ 2686214 h 4048081"/>
                <a:gd name="connsiteX17" fmla="*/ 1108533 w 4796240"/>
                <a:gd name="connsiteY17" fmla="*/ 3480046 h 4048081"/>
                <a:gd name="connsiteX18" fmla="*/ 883815 w 4796240"/>
                <a:gd name="connsiteY18" fmla="*/ 3717011 h 4048081"/>
                <a:gd name="connsiteX19" fmla="*/ 528996 w 4796240"/>
                <a:gd name="connsiteY19" fmla="*/ 3717011 h 4048081"/>
                <a:gd name="connsiteX20" fmla="*/ 292451 w 4796240"/>
                <a:gd name="connsiteY20" fmla="*/ 3480046 h 4048081"/>
                <a:gd name="connsiteX21" fmla="*/ 292451 w 4796240"/>
                <a:gd name="connsiteY21" fmla="*/ 2686214 h 4048081"/>
                <a:gd name="connsiteX22" fmla="*/ 55905 w 4796240"/>
                <a:gd name="connsiteY22" fmla="*/ 2449249 h 4048081"/>
                <a:gd name="connsiteX23" fmla="*/ 1951099 w 4796240"/>
                <a:gd name="connsiteY23" fmla="*/ 993211 h 4048081"/>
                <a:gd name="connsiteX24" fmla="*/ 2901046 w 4796240"/>
                <a:gd name="connsiteY24" fmla="*/ 993211 h 4048081"/>
                <a:gd name="connsiteX25" fmla="*/ 3186030 w 4796240"/>
                <a:gd name="connsiteY25" fmla="*/ 1277385 h 4048081"/>
                <a:gd name="connsiteX26" fmla="*/ 3186030 w 4796240"/>
                <a:gd name="connsiteY26" fmla="*/ 2568008 h 4048081"/>
                <a:gd name="connsiteX27" fmla="*/ 2901046 w 4796240"/>
                <a:gd name="connsiteY27" fmla="*/ 2852182 h 4048081"/>
                <a:gd name="connsiteX28" fmla="*/ 2901046 w 4796240"/>
                <a:gd name="connsiteY28" fmla="*/ 3763907 h 4048081"/>
                <a:gd name="connsiteX29" fmla="*/ 2627936 w 4796240"/>
                <a:gd name="connsiteY29" fmla="*/ 4048081 h 4048081"/>
                <a:gd name="connsiteX30" fmla="*/ 2224209 w 4796240"/>
                <a:gd name="connsiteY30" fmla="*/ 4048081 h 4048081"/>
                <a:gd name="connsiteX31" fmla="*/ 1951099 w 4796240"/>
                <a:gd name="connsiteY31" fmla="*/ 3763907 h 4048081"/>
                <a:gd name="connsiteX32" fmla="*/ 1951099 w 4796240"/>
                <a:gd name="connsiteY32" fmla="*/ 2852182 h 4048081"/>
                <a:gd name="connsiteX33" fmla="*/ 1666115 w 4796240"/>
                <a:gd name="connsiteY33" fmla="*/ 2568008 h 4048081"/>
                <a:gd name="connsiteX34" fmla="*/ 1666115 w 4796240"/>
                <a:gd name="connsiteY34" fmla="*/ 1277385 h 4048081"/>
                <a:gd name="connsiteX35" fmla="*/ 1951099 w 4796240"/>
                <a:gd name="connsiteY35" fmla="*/ 993211 h 4048081"/>
                <a:gd name="connsiteX36" fmla="*/ 4149151 w 4796240"/>
                <a:gd name="connsiteY36" fmla="*/ 245790 h 4048081"/>
                <a:gd name="connsiteX37" fmla="*/ 4535400 w 4796240"/>
                <a:gd name="connsiteY37" fmla="*/ 637055 h 4048081"/>
                <a:gd name="connsiteX38" fmla="*/ 4149151 w 4796240"/>
                <a:gd name="connsiteY38" fmla="*/ 1028320 h 4048081"/>
                <a:gd name="connsiteX39" fmla="*/ 3762902 w 4796240"/>
                <a:gd name="connsiteY39" fmla="*/ 637055 h 4048081"/>
                <a:gd name="connsiteX40" fmla="*/ 4149151 w 4796240"/>
                <a:gd name="connsiteY40" fmla="*/ 245790 h 4048081"/>
                <a:gd name="connsiteX41" fmla="*/ 2423562 w 4796240"/>
                <a:gd name="connsiteY41" fmla="*/ 0 h 4048081"/>
                <a:gd name="connsiteX42" fmla="*/ 2875023 w 4796240"/>
                <a:gd name="connsiteY42" fmla="*/ 453969 h 4048081"/>
                <a:gd name="connsiteX43" fmla="*/ 2423562 w 4796240"/>
                <a:gd name="connsiteY43" fmla="*/ 907938 h 4048081"/>
                <a:gd name="connsiteX44" fmla="*/ 1972101 w 4796240"/>
                <a:gd name="connsiteY44" fmla="*/ 453969 h 4048081"/>
                <a:gd name="connsiteX45" fmla="*/ 2423562 w 4796240"/>
                <a:gd name="connsiteY45"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2449249 h 4048081"/>
                <a:gd name="connsiteX15" fmla="*/ 1108533 w 4796240"/>
                <a:gd name="connsiteY15" fmla="*/ 2686214 h 4048081"/>
                <a:gd name="connsiteX16" fmla="*/ 1108533 w 4796240"/>
                <a:gd name="connsiteY16" fmla="*/ 3480046 h 4048081"/>
                <a:gd name="connsiteX17" fmla="*/ 883815 w 4796240"/>
                <a:gd name="connsiteY17" fmla="*/ 3717011 h 4048081"/>
                <a:gd name="connsiteX18" fmla="*/ 528996 w 4796240"/>
                <a:gd name="connsiteY18" fmla="*/ 3717011 h 4048081"/>
                <a:gd name="connsiteX19" fmla="*/ 292451 w 4796240"/>
                <a:gd name="connsiteY19" fmla="*/ 3480046 h 4048081"/>
                <a:gd name="connsiteX20" fmla="*/ 292451 w 4796240"/>
                <a:gd name="connsiteY20" fmla="*/ 2686214 h 4048081"/>
                <a:gd name="connsiteX21" fmla="*/ 55905 w 4796240"/>
                <a:gd name="connsiteY21" fmla="*/ 2449249 h 4048081"/>
                <a:gd name="connsiteX22" fmla="*/ 1951099 w 4796240"/>
                <a:gd name="connsiteY22" fmla="*/ 993211 h 4048081"/>
                <a:gd name="connsiteX23" fmla="*/ 2901046 w 4796240"/>
                <a:gd name="connsiteY23" fmla="*/ 993211 h 4048081"/>
                <a:gd name="connsiteX24" fmla="*/ 3186030 w 4796240"/>
                <a:gd name="connsiteY24" fmla="*/ 1277385 h 4048081"/>
                <a:gd name="connsiteX25" fmla="*/ 3186030 w 4796240"/>
                <a:gd name="connsiteY25" fmla="*/ 2568008 h 4048081"/>
                <a:gd name="connsiteX26" fmla="*/ 2901046 w 4796240"/>
                <a:gd name="connsiteY26" fmla="*/ 2852182 h 4048081"/>
                <a:gd name="connsiteX27" fmla="*/ 2901046 w 4796240"/>
                <a:gd name="connsiteY27" fmla="*/ 3763907 h 4048081"/>
                <a:gd name="connsiteX28" fmla="*/ 2627936 w 4796240"/>
                <a:gd name="connsiteY28" fmla="*/ 4048081 h 4048081"/>
                <a:gd name="connsiteX29" fmla="*/ 2224209 w 4796240"/>
                <a:gd name="connsiteY29" fmla="*/ 4048081 h 4048081"/>
                <a:gd name="connsiteX30" fmla="*/ 1951099 w 4796240"/>
                <a:gd name="connsiteY30" fmla="*/ 3763907 h 4048081"/>
                <a:gd name="connsiteX31" fmla="*/ 1951099 w 4796240"/>
                <a:gd name="connsiteY31" fmla="*/ 2852182 h 4048081"/>
                <a:gd name="connsiteX32" fmla="*/ 1666115 w 4796240"/>
                <a:gd name="connsiteY32" fmla="*/ 2568008 h 4048081"/>
                <a:gd name="connsiteX33" fmla="*/ 1666115 w 4796240"/>
                <a:gd name="connsiteY33" fmla="*/ 1277385 h 4048081"/>
                <a:gd name="connsiteX34" fmla="*/ 1951099 w 4796240"/>
                <a:gd name="connsiteY34" fmla="*/ 993211 h 4048081"/>
                <a:gd name="connsiteX35" fmla="*/ 4149151 w 4796240"/>
                <a:gd name="connsiteY35" fmla="*/ 245790 h 4048081"/>
                <a:gd name="connsiteX36" fmla="*/ 4535400 w 4796240"/>
                <a:gd name="connsiteY36" fmla="*/ 637055 h 4048081"/>
                <a:gd name="connsiteX37" fmla="*/ 4149151 w 4796240"/>
                <a:gd name="connsiteY37" fmla="*/ 1028320 h 4048081"/>
                <a:gd name="connsiteX38" fmla="*/ 3762902 w 4796240"/>
                <a:gd name="connsiteY38" fmla="*/ 637055 h 4048081"/>
                <a:gd name="connsiteX39" fmla="*/ 4149151 w 4796240"/>
                <a:gd name="connsiteY39" fmla="*/ 245790 h 4048081"/>
                <a:gd name="connsiteX40" fmla="*/ 2423562 w 4796240"/>
                <a:gd name="connsiteY40" fmla="*/ 0 h 4048081"/>
                <a:gd name="connsiteX41" fmla="*/ 2875023 w 4796240"/>
                <a:gd name="connsiteY41" fmla="*/ 453969 h 4048081"/>
                <a:gd name="connsiteX42" fmla="*/ 2423562 w 4796240"/>
                <a:gd name="connsiteY42" fmla="*/ 907938 h 4048081"/>
                <a:gd name="connsiteX43" fmla="*/ 1972101 w 4796240"/>
                <a:gd name="connsiteY43" fmla="*/ 453969 h 4048081"/>
                <a:gd name="connsiteX44" fmla="*/ 2423562 w 4796240"/>
                <a:gd name="connsiteY44"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49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49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50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50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447069 w 4503790"/>
                <a:gd name="connsiteY0" fmla="*/ 1098549 h 4048081"/>
                <a:gd name="connsiteX1" fmla="*/ 4266325 w 4503790"/>
                <a:gd name="connsiteY1" fmla="*/ 1098549 h 4048081"/>
                <a:gd name="connsiteX2" fmla="*/ 4503790 w 4503790"/>
                <a:gd name="connsiteY2" fmla="*/ 1335514 h 4048081"/>
                <a:gd name="connsiteX3" fmla="*/ 4503790 w 4503790"/>
                <a:gd name="connsiteY3" fmla="*/ 2449249 h 4048081"/>
                <a:gd name="connsiteX4" fmla="*/ 4266325 w 4503790"/>
                <a:gd name="connsiteY4" fmla="*/ 2686214 h 4048081"/>
                <a:gd name="connsiteX5" fmla="*/ 4266325 w 4503790"/>
                <a:gd name="connsiteY5" fmla="*/ 3480046 h 4048081"/>
                <a:gd name="connsiteX6" fmla="*/ 4028860 w 4503790"/>
                <a:gd name="connsiteY6" fmla="*/ 3717011 h 4048081"/>
                <a:gd name="connsiteX7" fmla="*/ 3672661 w 4503790"/>
                <a:gd name="connsiteY7" fmla="*/ 3717011 h 4048081"/>
                <a:gd name="connsiteX8" fmla="*/ 3447069 w 4503790"/>
                <a:gd name="connsiteY8" fmla="*/ 3480046 h 4048081"/>
                <a:gd name="connsiteX9" fmla="*/ 3447069 w 4503790"/>
                <a:gd name="connsiteY9" fmla="*/ 2686214 h 4048081"/>
                <a:gd name="connsiteX10" fmla="*/ 3209603 w 4503790"/>
                <a:gd name="connsiteY10" fmla="*/ 2449249 h 4048081"/>
                <a:gd name="connsiteX11" fmla="*/ 3209603 w 4503790"/>
                <a:gd name="connsiteY11" fmla="*/ 1335514 h 4048081"/>
                <a:gd name="connsiteX12" fmla="*/ 3447069 w 4503790"/>
                <a:gd name="connsiteY12" fmla="*/ 1098549 h 4048081"/>
                <a:gd name="connsiteX13" fmla="*/ 1 w 4503790"/>
                <a:gd name="connsiteY13" fmla="*/ 2686214 h 4048081"/>
                <a:gd name="connsiteX14" fmla="*/ 816083 w 4503790"/>
                <a:gd name="connsiteY14" fmla="*/ 2686214 h 4048081"/>
                <a:gd name="connsiteX15" fmla="*/ 816083 w 4503790"/>
                <a:gd name="connsiteY15" fmla="*/ 3480046 h 4048081"/>
                <a:gd name="connsiteX16" fmla="*/ 591365 w 4503790"/>
                <a:gd name="connsiteY16" fmla="*/ 3717011 h 4048081"/>
                <a:gd name="connsiteX17" fmla="*/ 236546 w 4503790"/>
                <a:gd name="connsiteY17" fmla="*/ 3717011 h 4048081"/>
                <a:gd name="connsiteX18" fmla="*/ 1 w 4503790"/>
                <a:gd name="connsiteY18" fmla="*/ 3480046 h 4048081"/>
                <a:gd name="connsiteX19" fmla="*/ 1 w 4503790"/>
                <a:gd name="connsiteY19" fmla="*/ 2686214 h 4048081"/>
                <a:gd name="connsiteX20" fmla="*/ 1658649 w 4503790"/>
                <a:gd name="connsiteY20" fmla="*/ 993211 h 4048081"/>
                <a:gd name="connsiteX21" fmla="*/ 2608596 w 4503790"/>
                <a:gd name="connsiteY21" fmla="*/ 993211 h 4048081"/>
                <a:gd name="connsiteX22" fmla="*/ 2893580 w 4503790"/>
                <a:gd name="connsiteY22" fmla="*/ 1277385 h 4048081"/>
                <a:gd name="connsiteX23" fmla="*/ 2893580 w 4503790"/>
                <a:gd name="connsiteY23" fmla="*/ 2568008 h 4048081"/>
                <a:gd name="connsiteX24" fmla="*/ 2608596 w 4503790"/>
                <a:gd name="connsiteY24" fmla="*/ 2852182 h 4048081"/>
                <a:gd name="connsiteX25" fmla="*/ 2608596 w 4503790"/>
                <a:gd name="connsiteY25" fmla="*/ 3763907 h 4048081"/>
                <a:gd name="connsiteX26" fmla="*/ 2335486 w 4503790"/>
                <a:gd name="connsiteY26" fmla="*/ 4048081 h 4048081"/>
                <a:gd name="connsiteX27" fmla="*/ 1931759 w 4503790"/>
                <a:gd name="connsiteY27" fmla="*/ 4048081 h 4048081"/>
                <a:gd name="connsiteX28" fmla="*/ 1658649 w 4503790"/>
                <a:gd name="connsiteY28" fmla="*/ 3763907 h 4048081"/>
                <a:gd name="connsiteX29" fmla="*/ 1658649 w 4503790"/>
                <a:gd name="connsiteY29" fmla="*/ 2852182 h 4048081"/>
                <a:gd name="connsiteX30" fmla="*/ 1373665 w 4503790"/>
                <a:gd name="connsiteY30" fmla="*/ 2568008 h 4048081"/>
                <a:gd name="connsiteX31" fmla="*/ 1373665 w 4503790"/>
                <a:gd name="connsiteY31" fmla="*/ 1277385 h 4048081"/>
                <a:gd name="connsiteX32" fmla="*/ 1658649 w 4503790"/>
                <a:gd name="connsiteY32" fmla="*/ 993211 h 4048081"/>
                <a:gd name="connsiteX33" fmla="*/ 3856701 w 4503790"/>
                <a:gd name="connsiteY33" fmla="*/ 245790 h 4048081"/>
                <a:gd name="connsiteX34" fmla="*/ 4242950 w 4503790"/>
                <a:gd name="connsiteY34" fmla="*/ 637055 h 4048081"/>
                <a:gd name="connsiteX35" fmla="*/ 3856701 w 4503790"/>
                <a:gd name="connsiteY35" fmla="*/ 1028320 h 4048081"/>
                <a:gd name="connsiteX36" fmla="*/ 3470452 w 4503790"/>
                <a:gd name="connsiteY36" fmla="*/ 637055 h 4048081"/>
                <a:gd name="connsiteX37" fmla="*/ 3856701 w 4503790"/>
                <a:gd name="connsiteY37" fmla="*/ 245790 h 4048081"/>
                <a:gd name="connsiteX38" fmla="*/ 2131112 w 4503790"/>
                <a:gd name="connsiteY38" fmla="*/ 0 h 4048081"/>
                <a:gd name="connsiteX39" fmla="*/ 2582573 w 4503790"/>
                <a:gd name="connsiteY39" fmla="*/ 453969 h 4048081"/>
                <a:gd name="connsiteX40" fmla="*/ 2131112 w 4503790"/>
                <a:gd name="connsiteY40" fmla="*/ 907938 h 4048081"/>
                <a:gd name="connsiteX41" fmla="*/ 1679651 w 4503790"/>
                <a:gd name="connsiteY41" fmla="*/ 453969 h 4048081"/>
                <a:gd name="connsiteX42" fmla="*/ 2131112 w 4503790"/>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72277 w 4528998"/>
                <a:gd name="connsiteY0" fmla="*/ 1098549 h 4048081"/>
                <a:gd name="connsiteX1" fmla="*/ 4291533 w 4528998"/>
                <a:gd name="connsiteY1" fmla="*/ 1098549 h 4048081"/>
                <a:gd name="connsiteX2" fmla="*/ 4528998 w 4528998"/>
                <a:gd name="connsiteY2" fmla="*/ 1335514 h 4048081"/>
                <a:gd name="connsiteX3" fmla="*/ 4528998 w 4528998"/>
                <a:gd name="connsiteY3" fmla="*/ 2449249 h 4048081"/>
                <a:gd name="connsiteX4" fmla="*/ 4291533 w 4528998"/>
                <a:gd name="connsiteY4" fmla="*/ 2686214 h 4048081"/>
                <a:gd name="connsiteX5" fmla="*/ 4291533 w 4528998"/>
                <a:gd name="connsiteY5" fmla="*/ 3480046 h 4048081"/>
                <a:gd name="connsiteX6" fmla="*/ 4054068 w 4528998"/>
                <a:gd name="connsiteY6" fmla="*/ 3717011 h 4048081"/>
                <a:gd name="connsiteX7" fmla="*/ 3697869 w 4528998"/>
                <a:gd name="connsiteY7" fmla="*/ 3717011 h 4048081"/>
                <a:gd name="connsiteX8" fmla="*/ 3472277 w 4528998"/>
                <a:gd name="connsiteY8" fmla="*/ 3480046 h 4048081"/>
                <a:gd name="connsiteX9" fmla="*/ 3472277 w 4528998"/>
                <a:gd name="connsiteY9" fmla="*/ 2686214 h 4048081"/>
                <a:gd name="connsiteX10" fmla="*/ 3234811 w 4528998"/>
                <a:gd name="connsiteY10" fmla="*/ 2449249 h 4048081"/>
                <a:gd name="connsiteX11" fmla="*/ 3234811 w 4528998"/>
                <a:gd name="connsiteY11" fmla="*/ 1335514 h 4048081"/>
                <a:gd name="connsiteX12" fmla="*/ 3472277 w 4528998"/>
                <a:gd name="connsiteY12" fmla="*/ 1098549 h 4048081"/>
                <a:gd name="connsiteX13" fmla="*/ 25209 w 4528998"/>
                <a:gd name="connsiteY13" fmla="*/ 3480046 h 4048081"/>
                <a:gd name="connsiteX14" fmla="*/ 841291 w 4528998"/>
                <a:gd name="connsiteY14" fmla="*/ 2686214 h 4048081"/>
                <a:gd name="connsiteX15" fmla="*/ 841291 w 4528998"/>
                <a:gd name="connsiteY15" fmla="*/ 3480046 h 4048081"/>
                <a:gd name="connsiteX16" fmla="*/ 616573 w 4528998"/>
                <a:gd name="connsiteY16" fmla="*/ 3717011 h 4048081"/>
                <a:gd name="connsiteX17" fmla="*/ 261754 w 4528998"/>
                <a:gd name="connsiteY17" fmla="*/ 3717011 h 4048081"/>
                <a:gd name="connsiteX18" fmla="*/ 25209 w 4528998"/>
                <a:gd name="connsiteY18" fmla="*/ 3480046 h 4048081"/>
                <a:gd name="connsiteX19" fmla="*/ 1683857 w 4528998"/>
                <a:gd name="connsiteY19" fmla="*/ 993211 h 4048081"/>
                <a:gd name="connsiteX20" fmla="*/ 2633804 w 4528998"/>
                <a:gd name="connsiteY20" fmla="*/ 993211 h 4048081"/>
                <a:gd name="connsiteX21" fmla="*/ 2918788 w 4528998"/>
                <a:gd name="connsiteY21" fmla="*/ 1277385 h 4048081"/>
                <a:gd name="connsiteX22" fmla="*/ 2918788 w 4528998"/>
                <a:gd name="connsiteY22" fmla="*/ 2568008 h 4048081"/>
                <a:gd name="connsiteX23" fmla="*/ 2633804 w 4528998"/>
                <a:gd name="connsiteY23" fmla="*/ 2852182 h 4048081"/>
                <a:gd name="connsiteX24" fmla="*/ 2633804 w 4528998"/>
                <a:gd name="connsiteY24" fmla="*/ 3763907 h 4048081"/>
                <a:gd name="connsiteX25" fmla="*/ 2360694 w 4528998"/>
                <a:gd name="connsiteY25" fmla="*/ 4048081 h 4048081"/>
                <a:gd name="connsiteX26" fmla="*/ 1956967 w 4528998"/>
                <a:gd name="connsiteY26" fmla="*/ 4048081 h 4048081"/>
                <a:gd name="connsiteX27" fmla="*/ 1683857 w 4528998"/>
                <a:gd name="connsiteY27" fmla="*/ 3763907 h 4048081"/>
                <a:gd name="connsiteX28" fmla="*/ 1683857 w 4528998"/>
                <a:gd name="connsiteY28" fmla="*/ 2852182 h 4048081"/>
                <a:gd name="connsiteX29" fmla="*/ 1398873 w 4528998"/>
                <a:gd name="connsiteY29" fmla="*/ 2568008 h 4048081"/>
                <a:gd name="connsiteX30" fmla="*/ 1398873 w 4528998"/>
                <a:gd name="connsiteY30" fmla="*/ 1277385 h 4048081"/>
                <a:gd name="connsiteX31" fmla="*/ 1683857 w 4528998"/>
                <a:gd name="connsiteY31" fmla="*/ 993211 h 4048081"/>
                <a:gd name="connsiteX32" fmla="*/ 3881909 w 4528998"/>
                <a:gd name="connsiteY32" fmla="*/ 245790 h 4048081"/>
                <a:gd name="connsiteX33" fmla="*/ 4268158 w 4528998"/>
                <a:gd name="connsiteY33" fmla="*/ 637055 h 4048081"/>
                <a:gd name="connsiteX34" fmla="*/ 3881909 w 4528998"/>
                <a:gd name="connsiteY34" fmla="*/ 1028320 h 4048081"/>
                <a:gd name="connsiteX35" fmla="*/ 3495660 w 4528998"/>
                <a:gd name="connsiteY35" fmla="*/ 637055 h 4048081"/>
                <a:gd name="connsiteX36" fmla="*/ 3881909 w 4528998"/>
                <a:gd name="connsiteY36" fmla="*/ 245790 h 4048081"/>
                <a:gd name="connsiteX37" fmla="*/ 2156320 w 4528998"/>
                <a:gd name="connsiteY37" fmla="*/ 0 h 4048081"/>
                <a:gd name="connsiteX38" fmla="*/ 2607781 w 4528998"/>
                <a:gd name="connsiteY38" fmla="*/ 453969 h 4048081"/>
                <a:gd name="connsiteX39" fmla="*/ 2156320 w 4528998"/>
                <a:gd name="connsiteY39" fmla="*/ 907938 h 4048081"/>
                <a:gd name="connsiteX40" fmla="*/ 1704859 w 4528998"/>
                <a:gd name="connsiteY40" fmla="*/ 453969 h 4048081"/>
                <a:gd name="connsiteX41" fmla="*/ 2156320 w 4528998"/>
                <a:gd name="connsiteY41" fmla="*/ 0 h 4048081"/>
                <a:gd name="connsiteX0" fmla="*/ 3214011 w 4270732"/>
                <a:gd name="connsiteY0" fmla="*/ 1098549 h 4048081"/>
                <a:gd name="connsiteX1" fmla="*/ 4033267 w 4270732"/>
                <a:gd name="connsiteY1" fmla="*/ 1098549 h 4048081"/>
                <a:gd name="connsiteX2" fmla="*/ 4270732 w 4270732"/>
                <a:gd name="connsiteY2" fmla="*/ 1335514 h 4048081"/>
                <a:gd name="connsiteX3" fmla="*/ 4270732 w 4270732"/>
                <a:gd name="connsiteY3" fmla="*/ 2449249 h 4048081"/>
                <a:gd name="connsiteX4" fmla="*/ 4033267 w 4270732"/>
                <a:gd name="connsiteY4" fmla="*/ 2686214 h 4048081"/>
                <a:gd name="connsiteX5" fmla="*/ 4033267 w 4270732"/>
                <a:gd name="connsiteY5" fmla="*/ 3480046 h 4048081"/>
                <a:gd name="connsiteX6" fmla="*/ 3795802 w 4270732"/>
                <a:gd name="connsiteY6" fmla="*/ 3717011 h 4048081"/>
                <a:gd name="connsiteX7" fmla="*/ 3439603 w 4270732"/>
                <a:gd name="connsiteY7" fmla="*/ 3717011 h 4048081"/>
                <a:gd name="connsiteX8" fmla="*/ 3214011 w 4270732"/>
                <a:gd name="connsiteY8" fmla="*/ 3480046 h 4048081"/>
                <a:gd name="connsiteX9" fmla="*/ 3214011 w 4270732"/>
                <a:gd name="connsiteY9" fmla="*/ 2686214 h 4048081"/>
                <a:gd name="connsiteX10" fmla="*/ 2976545 w 4270732"/>
                <a:gd name="connsiteY10" fmla="*/ 2449249 h 4048081"/>
                <a:gd name="connsiteX11" fmla="*/ 2976545 w 4270732"/>
                <a:gd name="connsiteY11" fmla="*/ 1335514 h 4048081"/>
                <a:gd name="connsiteX12" fmla="*/ 3214011 w 4270732"/>
                <a:gd name="connsiteY12" fmla="*/ 1098549 h 4048081"/>
                <a:gd name="connsiteX13" fmla="*/ 3488 w 4270732"/>
                <a:gd name="connsiteY13" fmla="*/ 3717011 h 4048081"/>
                <a:gd name="connsiteX14" fmla="*/ 583025 w 4270732"/>
                <a:gd name="connsiteY14" fmla="*/ 2686214 h 4048081"/>
                <a:gd name="connsiteX15" fmla="*/ 583025 w 4270732"/>
                <a:gd name="connsiteY15" fmla="*/ 3480046 h 4048081"/>
                <a:gd name="connsiteX16" fmla="*/ 358307 w 4270732"/>
                <a:gd name="connsiteY16" fmla="*/ 3717011 h 4048081"/>
                <a:gd name="connsiteX17" fmla="*/ 3488 w 4270732"/>
                <a:gd name="connsiteY17" fmla="*/ 3717011 h 4048081"/>
                <a:gd name="connsiteX18" fmla="*/ 1425591 w 4270732"/>
                <a:gd name="connsiteY18" fmla="*/ 993211 h 4048081"/>
                <a:gd name="connsiteX19" fmla="*/ 2375538 w 4270732"/>
                <a:gd name="connsiteY19" fmla="*/ 993211 h 4048081"/>
                <a:gd name="connsiteX20" fmla="*/ 2660522 w 4270732"/>
                <a:gd name="connsiteY20" fmla="*/ 1277385 h 4048081"/>
                <a:gd name="connsiteX21" fmla="*/ 2660522 w 4270732"/>
                <a:gd name="connsiteY21" fmla="*/ 2568008 h 4048081"/>
                <a:gd name="connsiteX22" fmla="*/ 2375538 w 4270732"/>
                <a:gd name="connsiteY22" fmla="*/ 2852182 h 4048081"/>
                <a:gd name="connsiteX23" fmla="*/ 2375538 w 4270732"/>
                <a:gd name="connsiteY23" fmla="*/ 3763907 h 4048081"/>
                <a:gd name="connsiteX24" fmla="*/ 2102428 w 4270732"/>
                <a:gd name="connsiteY24" fmla="*/ 4048081 h 4048081"/>
                <a:gd name="connsiteX25" fmla="*/ 1698701 w 4270732"/>
                <a:gd name="connsiteY25" fmla="*/ 4048081 h 4048081"/>
                <a:gd name="connsiteX26" fmla="*/ 1425591 w 4270732"/>
                <a:gd name="connsiteY26" fmla="*/ 3763907 h 4048081"/>
                <a:gd name="connsiteX27" fmla="*/ 1425591 w 4270732"/>
                <a:gd name="connsiteY27" fmla="*/ 2852182 h 4048081"/>
                <a:gd name="connsiteX28" fmla="*/ 1140607 w 4270732"/>
                <a:gd name="connsiteY28" fmla="*/ 2568008 h 4048081"/>
                <a:gd name="connsiteX29" fmla="*/ 1140607 w 4270732"/>
                <a:gd name="connsiteY29" fmla="*/ 1277385 h 4048081"/>
                <a:gd name="connsiteX30" fmla="*/ 1425591 w 4270732"/>
                <a:gd name="connsiteY30" fmla="*/ 993211 h 4048081"/>
                <a:gd name="connsiteX31" fmla="*/ 3623643 w 4270732"/>
                <a:gd name="connsiteY31" fmla="*/ 245790 h 4048081"/>
                <a:gd name="connsiteX32" fmla="*/ 4009892 w 4270732"/>
                <a:gd name="connsiteY32" fmla="*/ 637055 h 4048081"/>
                <a:gd name="connsiteX33" fmla="*/ 3623643 w 4270732"/>
                <a:gd name="connsiteY33" fmla="*/ 1028320 h 4048081"/>
                <a:gd name="connsiteX34" fmla="*/ 3237394 w 4270732"/>
                <a:gd name="connsiteY34" fmla="*/ 637055 h 4048081"/>
                <a:gd name="connsiteX35" fmla="*/ 3623643 w 4270732"/>
                <a:gd name="connsiteY35" fmla="*/ 245790 h 4048081"/>
                <a:gd name="connsiteX36" fmla="*/ 1898054 w 4270732"/>
                <a:gd name="connsiteY36" fmla="*/ 0 h 4048081"/>
                <a:gd name="connsiteX37" fmla="*/ 2349515 w 4270732"/>
                <a:gd name="connsiteY37" fmla="*/ 453969 h 4048081"/>
                <a:gd name="connsiteX38" fmla="*/ 1898054 w 4270732"/>
                <a:gd name="connsiteY38" fmla="*/ 907938 h 4048081"/>
                <a:gd name="connsiteX39" fmla="*/ 1446593 w 4270732"/>
                <a:gd name="connsiteY39" fmla="*/ 453969 h 4048081"/>
                <a:gd name="connsiteX40" fmla="*/ 1898054 w 4270732"/>
                <a:gd name="connsiteY40" fmla="*/ 0 h 4048081"/>
                <a:gd name="connsiteX0" fmla="*/ 2855704 w 3912425"/>
                <a:gd name="connsiteY0" fmla="*/ 1098549 h 4048081"/>
                <a:gd name="connsiteX1" fmla="*/ 3674960 w 3912425"/>
                <a:gd name="connsiteY1" fmla="*/ 1098549 h 4048081"/>
                <a:gd name="connsiteX2" fmla="*/ 3912425 w 3912425"/>
                <a:gd name="connsiteY2" fmla="*/ 1335514 h 4048081"/>
                <a:gd name="connsiteX3" fmla="*/ 3912425 w 3912425"/>
                <a:gd name="connsiteY3" fmla="*/ 2449249 h 4048081"/>
                <a:gd name="connsiteX4" fmla="*/ 3674960 w 3912425"/>
                <a:gd name="connsiteY4" fmla="*/ 2686214 h 4048081"/>
                <a:gd name="connsiteX5" fmla="*/ 3674960 w 3912425"/>
                <a:gd name="connsiteY5" fmla="*/ 3480046 h 4048081"/>
                <a:gd name="connsiteX6" fmla="*/ 3437495 w 3912425"/>
                <a:gd name="connsiteY6" fmla="*/ 3717011 h 4048081"/>
                <a:gd name="connsiteX7" fmla="*/ 3081296 w 3912425"/>
                <a:gd name="connsiteY7" fmla="*/ 3717011 h 4048081"/>
                <a:gd name="connsiteX8" fmla="*/ 2855704 w 3912425"/>
                <a:gd name="connsiteY8" fmla="*/ 3480046 h 4048081"/>
                <a:gd name="connsiteX9" fmla="*/ 2855704 w 3912425"/>
                <a:gd name="connsiteY9" fmla="*/ 2686214 h 4048081"/>
                <a:gd name="connsiteX10" fmla="*/ 2618238 w 3912425"/>
                <a:gd name="connsiteY10" fmla="*/ 2449249 h 4048081"/>
                <a:gd name="connsiteX11" fmla="*/ 2618238 w 3912425"/>
                <a:gd name="connsiteY11" fmla="*/ 1335514 h 4048081"/>
                <a:gd name="connsiteX12" fmla="*/ 2855704 w 3912425"/>
                <a:gd name="connsiteY12" fmla="*/ 1098549 h 4048081"/>
                <a:gd name="connsiteX13" fmla="*/ 0 w 3912425"/>
                <a:gd name="connsiteY13" fmla="*/ 3717011 h 4048081"/>
                <a:gd name="connsiteX14" fmla="*/ 224718 w 3912425"/>
                <a:gd name="connsiteY14" fmla="*/ 2686214 h 4048081"/>
                <a:gd name="connsiteX15" fmla="*/ 224718 w 3912425"/>
                <a:gd name="connsiteY15" fmla="*/ 3480046 h 4048081"/>
                <a:gd name="connsiteX16" fmla="*/ 0 w 3912425"/>
                <a:gd name="connsiteY16" fmla="*/ 3717011 h 4048081"/>
                <a:gd name="connsiteX17" fmla="*/ 1067284 w 3912425"/>
                <a:gd name="connsiteY17" fmla="*/ 993211 h 4048081"/>
                <a:gd name="connsiteX18" fmla="*/ 2017231 w 3912425"/>
                <a:gd name="connsiteY18" fmla="*/ 993211 h 4048081"/>
                <a:gd name="connsiteX19" fmla="*/ 2302215 w 3912425"/>
                <a:gd name="connsiteY19" fmla="*/ 1277385 h 4048081"/>
                <a:gd name="connsiteX20" fmla="*/ 2302215 w 3912425"/>
                <a:gd name="connsiteY20" fmla="*/ 2568008 h 4048081"/>
                <a:gd name="connsiteX21" fmla="*/ 2017231 w 3912425"/>
                <a:gd name="connsiteY21" fmla="*/ 2852182 h 4048081"/>
                <a:gd name="connsiteX22" fmla="*/ 2017231 w 3912425"/>
                <a:gd name="connsiteY22" fmla="*/ 3763907 h 4048081"/>
                <a:gd name="connsiteX23" fmla="*/ 1744121 w 3912425"/>
                <a:gd name="connsiteY23" fmla="*/ 4048081 h 4048081"/>
                <a:gd name="connsiteX24" fmla="*/ 1340394 w 3912425"/>
                <a:gd name="connsiteY24" fmla="*/ 4048081 h 4048081"/>
                <a:gd name="connsiteX25" fmla="*/ 1067284 w 3912425"/>
                <a:gd name="connsiteY25" fmla="*/ 3763907 h 4048081"/>
                <a:gd name="connsiteX26" fmla="*/ 1067284 w 3912425"/>
                <a:gd name="connsiteY26" fmla="*/ 2852182 h 4048081"/>
                <a:gd name="connsiteX27" fmla="*/ 782300 w 3912425"/>
                <a:gd name="connsiteY27" fmla="*/ 2568008 h 4048081"/>
                <a:gd name="connsiteX28" fmla="*/ 782300 w 3912425"/>
                <a:gd name="connsiteY28" fmla="*/ 1277385 h 4048081"/>
                <a:gd name="connsiteX29" fmla="*/ 1067284 w 3912425"/>
                <a:gd name="connsiteY29" fmla="*/ 993211 h 4048081"/>
                <a:gd name="connsiteX30" fmla="*/ 3265336 w 3912425"/>
                <a:gd name="connsiteY30" fmla="*/ 245790 h 4048081"/>
                <a:gd name="connsiteX31" fmla="*/ 3651585 w 3912425"/>
                <a:gd name="connsiteY31" fmla="*/ 637055 h 4048081"/>
                <a:gd name="connsiteX32" fmla="*/ 3265336 w 3912425"/>
                <a:gd name="connsiteY32" fmla="*/ 1028320 h 4048081"/>
                <a:gd name="connsiteX33" fmla="*/ 2879087 w 3912425"/>
                <a:gd name="connsiteY33" fmla="*/ 637055 h 4048081"/>
                <a:gd name="connsiteX34" fmla="*/ 3265336 w 3912425"/>
                <a:gd name="connsiteY34" fmla="*/ 245790 h 4048081"/>
                <a:gd name="connsiteX35" fmla="*/ 1539747 w 3912425"/>
                <a:gd name="connsiteY35" fmla="*/ 0 h 4048081"/>
                <a:gd name="connsiteX36" fmla="*/ 1991208 w 3912425"/>
                <a:gd name="connsiteY36" fmla="*/ 453969 h 4048081"/>
                <a:gd name="connsiteX37" fmla="*/ 1539747 w 3912425"/>
                <a:gd name="connsiteY37" fmla="*/ 907938 h 4048081"/>
                <a:gd name="connsiteX38" fmla="*/ 1088286 w 3912425"/>
                <a:gd name="connsiteY38" fmla="*/ 453969 h 4048081"/>
                <a:gd name="connsiteX39" fmla="*/ 1539747 w 3912425"/>
                <a:gd name="connsiteY39"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0 w 3687707"/>
                <a:gd name="connsiteY13" fmla="*/ 3480046 h 4048081"/>
                <a:gd name="connsiteX14" fmla="*/ 0 w 3687707"/>
                <a:gd name="connsiteY14" fmla="*/ 2686214 h 4048081"/>
                <a:gd name="connsiteX15" fmla="*/ 0 w 3687707"/>
                <a:gd name="connsiteY15" fmla="*/ 3480046 h 4048081"/>
                <a:gd name="connsiteX16" fmla="*/ 842566 w 3687707"/>
                <a:gd name="connsiteY16" fmla="*/ 993211 h 4048081"/>
                <a:gd name="connsiteX17" fmla="*/ 1792513 w 3687707"/>
                <a:gd name="connsiteY17" fmla="*/ 993211 h 4048081"/>
                <a:gd name="connsiteX18" fmla="*/ 2077497 w 3687707"/>
                <a:gd name="connsiteY18" fmla="*/ 1277385 h 4048081"/>
                <a:gd name="connsiteX19" fmla="*/ 2077497 w 3687707"/>
                <a:gd name="connsiteY19" fmla="*/ 2568008 h 4048081"/>
                <a:gd name="connsiteX20" fmla="*/ 1792513 w 3687707"/>
                <a:gd name="connsiteY20" fmla="*/ 2852182 h 4048081"/>
                <a:gd name="connsiteX21" fmla="*/ 1792513 w 3687707"/>
                <a:gd name="connsiteY21" fmla="*/ 3763907 h 4048081"/>
                <a:gd name="connsiteX22" fmla="*/ 1519403 w 3687707"/>
                <a:gd name="connsiteY22" fmla="*/ 4048081 h 4048081"/>
                <a:gd name="connsiteX23" fmla="*/ 1115676 w 3687707"/>
                <a:gd name="connsiteY23" fmla="*/ 4048081 h 4048081"/>
                <a:gd name="connsiteX24" fmla="*/ 842566 w 3687707"/>
                <a:gd name="connsiteY24" fmla="*/ 3763907 h 4048081"/>
                <a:gd name="connsiteX25" fmla="*/ 842566 w 3687707"/>
                <a:gd name="connsiteY25" fmla="*/ 2852182 h 4048081"/>
                <a:gd name="connsiteX26" fmla="*/ 557582 w 3687707"/>
                <a:gd name="connsiteY26" fmla="*/ 2568008 h 4048081"/>
                <a:gd name="connsiteX27" fmla="*/ 557582 w 3687707"/>
                <a:gd name="connsiteY27" fmla="*/ 1277385 h 4048081"/>
                <a:gd name="connsiteX28" fmla="*/ 842566 w 3687707"/>
                <a:gd name="connsiteY28" fmla="*/ 993211 h 4048081"/>
                <a:gd name="connsiteX29" fmla="*/ 3040618 w 3687707"/>
                <a:gd name="connsiteY29" fmla="*/ 245790 h 4048081"/>
                <a:gd name="connsiteX30" fmla="*/ 3426867 w 3687707"/>
                <a:gd name="connsiteY30" fmla="*/ 637055 h 4048081"/>
                <a:gd name="connsiteX31" fmla="*/ 3040618 w 3687707"/>
                <a:gd name="connsiteY31" fmla="*/ 1028320 h 4048081"/>
                <a:gd name="connsiteX32" fmla="*/ 2654369 w 3687707"/>
                <a:gd name="connsiteY32" fmla="*/ 637055 h 4048081"/>
                <a:gd name="connsiteX33" fmla="*/ 3040618 w 3687707"/>
                <a:gd name="connsiteY33" fmla="*/ 245790 h 4048081"/>
                <a:gd name="connsiteX34" fmla="*/ 1315029 w 3687707"/>
                <a:gd name="connsiteY34" fmla="*/ 0 h 4048081"/>
                <a:gd name="connsiteX35" fmla="*/ 1766490 w 3687707"/>
                <a:gd name="connsiteY35" fmla="*/ 453969 h 4048081"/>
                <a:gd name="connsiteX36" fmla="*/ 1315029 w 3687707"/>
                <a:gd name="connsiteY36" fmla="*/ 907938 h 4048081"/>
                <a:gd name="connsiteX37" fmla="*/ 863568 w 3687707"/>
                <a:gd name="connsiteY37" fmla="*/ 453969 h 4048081"/>
                <a:gd name="connsiteX38" fmla="*/ 1315029 w 3687707"/>
                <a:gd name="connsiteY38"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483035 w 3130124"/>
                <a:gd name="connsiteY26" fmla="*/ 245790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2483035 w 3130124"/>
                <a:gd name="connsiteY30" fmla="*/ 245790 h 4048081"/>
                <a:gd name="connsiteX31" fmla="*/ 757446 w 3130124"/>
                <a:gd name="connsiteY31" fmla="*/ 0 h 4048081"/>
                <a:gd name="connsiteX32" fmla="*/ 1208907 w 3130124"/>
                <a:gd name="connsiteY32" fmla="*/ 453969 h 4048081"/>
                <a:gd name="connsiteX33" fmla="*/ 757446 w 3130124"/>
                <a:gd name="connsiteY33" fmla="*/ 907938 h 4048081"/>
                <a:gd name="connsiteX34" fmla="*/ 305985 w 3130124"/>
                <a:gd name="connsiteY34" fmla="*/ 453969 h 4048081"/>
                <a:gd name="connsiteX35" fmla="*/ 757446 w 3130124"/>
                <a:gd name="connsiteY35"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757446 w 3130124"/>
                <a:gd name="connsiteY30" fmla="*/ 0 h 4048081"/>
                <a:gd name="connsiteX31" fmla="*/ 1208907 w 3130124"/>
                <a:gd name="connsiteY31" fmla="*/ 453969 h 4048081"/>
                <a:gd name="connsiteX32" fmla="*/ 757446 w 3130124"/>
                <a:gd name="connsiteY32" fmla="*/ 907938 h 4048081"/>
                <a:gd name="connsiteX33" fmla="*/ 305985 w 3130124"/>
                <a:gd name="connsiteY33" fmla="*/ 453969 h 4048081"/>
                <a:gd name="connsiteX34" fmla="*/ 757446 w 3130124"/>
                <a:gd name="connsiteY34"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483035 w 3130124"/>
                <a:gd name="connsiteY27" fmla="*/ 1028320 h 4048081"/>
                <a:gd name="connsiteX28" fmla="*/ 2096786 w 3130124"/>
                <a:gd name="connsiteY28" fmla="*/ 637055 h 4048081"/>
                <a:gd name="connsiteX29" fmla="*/ 757446 w 3130124"/>
                <a:gd name="connsiteY29" fmla="*/ 0 h 4048081"/>
                <a:gd name="connsiteX30" fmla="*/ 1208907 w 3130124"/>
                <a:gd name="connsiteY30" fmla="*/ 453969 h 4048081"/>
                <a:gd name="connsiteX31" fmla="*/ 757446 w 3130124"/>
                <a:gd name="connsiteY31" fmla="*/ 907938 h 4048081"/>
                <a:gd name="connsiteX32" fmla="*/ 305985 w 3130124"/>
                <a:gd name="connsiteY32" fmla="*/ 453969 h 4048081"/>
                <a:gd name="connsiteX33" fmla="*/ 757446 w 3130124"/>
                <a:gd name="connsiteY33"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757446 w 3130124"/>
                <a:gd name="connsiteY26" fmla="*/ 0 h 4048081"/>
                <a:gd name="connsiteX27" fmla="*/ 1208907 w 3130124"/>
                <a:gd name="connsiteY27" fmla="*/ 453969 h 4048081"/>
                <a:gd name="connsiteX28" fmla="*/ 757446 w 3130124"/>
                <a:gd name="connsiteY28" fmla="*/ 907938 h 4048081"/>
                <a:gd name="connsiteX29" fmla="*/ 305985 w 3130124"/>
                <a:gd name="connsiteY29" fmla="*/ 453969 h 4048081"/>
                <a:gd name="connsiteX30" fmla="*/ 757446 w 3130124"/>
                <a:gd name="connsiteY30" fmla="*/ 0 h 4048081"/>
                <a:gd name="connsiteX0" fmla="*/ 2073403 w 3130124"/>
                <a:gd name="connsiteY0" fmla="*/ 1098549 h 4048081"/>
                <a:gd name="connsiteX1" fmla="*/ 3130124 w 3130124"/>
                <a:gd name="connsiteY1" fmla="*/ 1335514 h 4048081"/>
                <a:gd name="connsiteX2" fmla="*/ 3130124 w 3130124"/>
                <a:gd name="connsiteY2" fmla="*/ 2449249 h 4048081"/>
                <a:gd name="connsiteX3" fmla="*/ 2892659 w 3130124"/>
                <a:gd name="connsiteY3" fmla="*/ 2686214 h 4048081"/>
                <a:gd name="connsiteX4" fmla="*/ 2892659 w 3130124"/>
                <a:gd name="connsiteY4" fmla="*/ 3480046 h 4048081"/>
                <a:gd name="connsiteX5" fmla="*/ 2655194 w 3130124"/>
                <a:gd name="connsiteY5" fmla="*/ 3717011 h 4048081"/>
                <a:gd name="connsiteX6" fmla="*/ 2298995 w 3130124"/>
                <a:gd name="connsiteY6" fmla="*/ 3717011 h 4048081"/>
                <a:gd name="connsiteX7" fmla="*/ 2073403 w 3130124"/>
                <a:gd name="connsiteY7" fmla="*/ 3480046 h 4048081"/>
                <a:gd name="connsiteX8" fmla="*/ 2073403 w 3130124"/>
                <a:gd name="connsiteY8" fmla="*/ 2686214 h 4048081"/>
                <a:gd name="connsiteX9" fmla="*/ 1835937 w 3130124"/>
                <a:gd name="connsiteY9" fmla="*/ 2449249 h 4048081"/>
                <a:gd name="connsiteX10" fmla="*/ 1835937 w 3130124"/>
                <a:gd name="connsiteY10" fmla="*/ 1335514 h 4048081"/>
                <a:gd name="connsiteX11" fmla="*/ 2073403 w 3130124"/>
                <a:gd name="connsiteY11" fmla="*/ 1098549 h 4048081"/>
                <a:gd name="connsiteX12" fmla="*/ 284983 w 3130124"/>
                <a:gd name="connsiteY12" fmla="*/ 993211 h 4048081"/>
                <a:gd name="connsiteX13" fmla="*/ 1234930 w 3130124"/>
                <a:gd name="connsiteY13" fmla="*/ 993211 h 4048081"/>
                <a:gd name="connsiteX14" fmla="*/ 1519914 w 3130124"/>
                <a:gd name="connsiteY14" fmla="*/ 1277385 h 4048081"/>
                <a:gd name="connsiteX15" fmla="*/ 1519914 w 3130124"/>
                <a:gd name="connsiteY15" fmla="*/ 2568008 h 4048081"/>
                <a:gd name="connsiteX16" fmla="*/ 1234930 w 3130124"/>
                <a:gd name="connsiteY16" fmla="*/ 2852182 h 4048081"/>
                <a:gd name="connsiteX17" fmla="*/ 1234930 w 3130124"/>
                <a:gd name="connsiteY17" fmla="*/ 3763907 h 4048081"/>
                <a:gd name="connsiteX18" fmla="*/ 961820 w 3130124"/>
                <a:gd name="connsiteY18" fmla="*/ 4048081 h 4048081"/>
                <a:gd name="connsiteX19" fmla="*/ 558093 w 3130124"/>
                <a:gd name="connsiteY19" fmla="*/ 4048081 h 4048081"/>
                <a:gd name="connsiteX20" fmla="*/ 284983 w 3130124"/>
                <a:gd name="connsiteY20" fmla="*/ 3763907 h 4048081"/>
                <a:gd name="connsiteX21" fmla="*/ 284983 w 3130124"/>
                <a:gd name="connsiteY21" fmla="*/ 2852182 h 4048081"/>
                <a:gd name="connsiteX22" fmla="*/ -1 w 3130124"/>
                <a:gd name="connsiteY22" fmla="*/ 2568008 h 4048081"/>
                <a:gd name="connsiteX23" fmla="*/ -1 w 3130124"/>
                <a:gd name="connsiteY23" fmla="*/ 1277385 h 4048081"/>
                <a:gd name="connsiteX24" fmla="*/ 284983 w 3130124"/>
                <a:gd name="connsiteY24" fmla="*/ 993211 h 4048081"/>
                <a:gd name="connsiteX25" fmla="*/ 757446 w 3130124"/>
                <a:gd name="connsiteY25" fmla="*/ 0 h 4048081"/>
                <a:gd name="connsiteX26" fmla="*/ 1208907 w 3130124"/>
                <a:gd name="connsiteY26" fmla="*/ 453969 h 4048081"/>
                <a:gd name="connsiteX27" fmla="*/ 757446 w 3130124"/>
                <a:gd name="connsiteY27" fmla="*/ 907938 h 4048081"/>
                <a:gd name="connsiteX28" fmla="*/ 305985 w 3130124"/>
                <a:gd name="connsiteY28" fmla="*/ 453969 h 4048081"/>
                <a:gd name="connsiteX29" fmla="*/ 757446 w 3130124"/>
                <a:gd name="connsiteY29" fmla="*/ 0 h 4048081"/>
                <a:gd name="connsiteX0" fmla="*/ 2073403 w 3130124"/>
                <a:gd name="connsiteY0" fmla="*/ 1098549 h 4048081"/>
                <a:gd name="connsiteX1" fmla="*/ 3130124 w 3130124"/>
                <a:gd name="connsiteY1" fmla="*/ 2449249 h 4048081"/>
                <a:gd name="connsiteX2" fmla="*/ 2892659 w 3130124"/>
                <a:gd name="connsiteY2" fmla="*/ 2686214 h 4048081"/>
                <a:gd name="connsiteX3" fmla="*/ 2892659 w 3130124"/>
                <a:gd name="connsiteY3" fmla="*/ 3480046 h 4048081"/>
                <a:gd name="connsiteX4" fmla="*/ 2655194 w 3130124"/>
                <a:gd name="connsiteY4" fmla="*/ 3717011 h 4048081"/>
                <a:gd name="connsiteX5" fmla="*/ 2298995 w 3130124"/>
                <a:gd name="connsiteY5" fmla="*/ 3717011 h 4048081"/>
                <a:gd name="connsiteX6" fmla="*/ 2073403 w 3130124"/>
                <a:gd name="connsiteY6" fmla="*/ 3480046 h 4048081"/>
                <a:gd name="connsiteX7" fmla="*/ 2073403 w 3130124"/>
                <a:gd name="connsiteY7" fmla="*/ 2686214 h 4048081"/>
                <a:gd name="connsiteX8" fmla="*/ 1835937 w 3130124"/>
                <a:gd name="connsiteY8" fmla="*/ 2449249 h 4048081"/>
                <a:gd name="connsiteX9" fmla="*/ 1835937 w 3130124"/>
                <a:gd name="connsiteY9" fmla="*/ 1335514 h 4048081"/>
                <a:gd name="connsiteX10" fmla="*/ 2073403 w 3130124"/>
                <a:gd name="connsiteY10" fmla="*/ 1098549 h 4048081"/>
                <a:gd name="connsiteX11" fmla="*/ 284983 w 3130124"/>
                <a:gd name="connsiteY11" fmla="*/ 993211 h 4048081"/>
                <a:gd name="connsiteX12" fmla="*/ 1234930 w 3130124"/>
                <a:gd name="connsiteY12" fmla="*/ 993211 h 4048081"/>
                <a:gd name="connsiteX13" fmla="*/ 1519914 w 3130124"/>
                <a:gd name="connsiteY13" fmla="*/ 1277385 h 4048081"/>
                <a:gd name="connsiteX14" fmla="*/ 1519914 w 3130124"/>
                <a:gd name="connsiteY14" fmla="*/ 2568008 h 4048081"/>
                <a:gd name="connsiteX15" fmla="*/ 1234930 w 3130124"/>
                <a:gd name="connsiteY15" fmla="*/ 2852182 h 4048081"/>
                <a:gd name="connsiteX16" fmla="*/ 1234930 w 3130124"/>
                <a:gd name="connsiteY16" fmla="*/ 3763907 h 4048081"/>
                <a:gd name="connsiteX17" fmla="*/ 961820 w 3130124"/>
                <a:gd name="connsiteY17" fmla="*/ 4048081 h 4048081"/>
                <a:gd name="connsiteX18" fmla="*/ 558093 w 3130124"/>
                <a:gd name="connsiteY18" fmla="*/ 4048081 h 4048081"/>
                <a:gd name="connsiteX19" fmla="*/ 284983 w 3130124"/>
                <a:gd name="connsiteY19" fmla="*/ 3763907 h 4048081"/>
                <a:gd name="connsiteX20" fmla="*/ 284983 w 3130124"/>
                <a:gd name="connsiteY20" fmla="*/ 2852182 h 4048081"/>
                <a:gd name="connsiteX21" fmla="*/ -1 w 3130124"/>
                <a:gd name="connsiteY21" fmla="*/ 2568008 h 4048081"/>
                <a:gd name="connsiteX22" fmla="*/ -1 w 3130124"/>
                <a:gd name="connsiteY22" fmla="*/ 1277385 h 4048081"/>
                <a:gd name="connsiteX23" fmla="*/ 284983 w 3130124"/>
                <a:gd name="connsiteY23" fmla="*/ 993211 h 4048081"/>
                <a:gd name="connsiteX24" fmla="*/ 757446 w 3130124"/>
                <a:gd name="connsiteY24" fmla="*/ 0 h 4048081"/>
                <a:gd name="connsiteX25" fmla="*/ 1208907 w 3130124"/>
                <a:gd name="connsiteY25" fmla="*/ 453969 h 4048081"/>
                <a:gd name="connsiteX26" fmla="*/ 757446 w 3130124"/>
                <a:gd name="connsiteY26" fmla="*/ 907938 h 4048081"/>
                <a:gd name="connsiteX27" fmla="*/ 305985 w 3130124"/>
                <a:gd name="connsiteY27" fmla="*/ 453969 h 4048081"/>
                <a:gd name="connsiteX28" fmla="*/ 757446 w 3130124"/>
                <a:gd name="connsiteY28"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6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6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7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7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1835937 w 3186245"/>
                <a:gd name="connsiteY7" fmla="*/ 1335514 h 4048081"/>
                <a:gd name="connsiteX8" fmla="*/ 284983 w 3186245"/>
                <a:gd name="connsiteY8" fmla="*/ 993211 h 4048081"/>
                <a:gd name="connsiteX9" fmla="*/ 1234930 w 3186245"/>
                <a:gd name="connsiteY9" fmla="*/ 993211 h 4048081"/>
                <a:gd name="connsiteX10" fmla="*/ 1519914 w 3186245"/>
                <a:gd name="connsiteY10" fmla="*/ 1277385 h 4048081"/>
                <a:gd name="connsiteX11" fmla="*/ 1519914 w 3186245"/>
                <a:gd name="connsiteY11" fmla="*/ 2568008 h 4048081"/>
                <a:gd name="connsiteX12" fmla="*/ 1234930 w 3186245"/>
                <a:gd name="connsiteY12" fmla="*/ 2852182 h 4048081"/>
                <a:gd name="connsiteX13" fmla="*/ 1234930 w 3186245"/>
                <a:gd name="connsiteY13" fmla="*/ 3763907 h 4048081"/>
                <a:gd name="connsiteX14" fmla="*/ 961820 w 3186245"/>
                <a:gd name="connsiteY14" fmla="*/ 4048081 h 4048081"/>
                <a:gd name="connsiteX15" fmla="*/ 558093 w 3186245"/>
                <a:gd name="connsiteY15" fmla="*/ 4048081 h 4048081"/>
                <a:gd name="connsiteX16" fmla="*/ 284983 w 3186245"/>
                <a:gd name="connsiteY16" fmla="*/ 3763907 h 4048081"/>
                <a:gd name="connsiteX17" fmla="*/ 284983 w 3186245"/>
                <a:gd name="connsiteY17" fmla="*/ 2852182 h 4048081"/>
                <a:gd name="connsiteX18" fmla="*/ -1 w 3186245"/>
                <a:gd name="connsiteY18" fmla="*/ 2568008 h 4048081"/>
                <a:gd name="connsiteX19" fmla="*/ -1 w 3186245"/>
                <a:gd name="connsiteY19" fmla="*/ 1277385 h 4048081"/>
                <a:gd name="connsiteX20" fmla="*/ 284983 w 3186245"/>
                <a:gd name="connsiteY20" fmla="*/ 993211 h 4048081"/>
                <a:gd name="connsiteX21" fmla="*/ 757447 w 3186245"/>
                <a:gd name="connsiteY21" fmla="*/ 0 h 4048081"/>
                <a:gd name="connsiteX22" fmla="*/ 1208907 w 3186245"/>
                <a:gd name="connsiteY22" fmla="*/ 453969 h 4048081"/>
                <a:gd name="connsiteX23" fmla="*/ 757446 w 3186245"/>
                <a:gd name="connsiteY23" fmla="*/ 907938 h 4048081"/>
                <a:gd name="connsiteX24" fmla="*/ 305985 w 3186245"/>
                <a:gd name="connsiteY24" fmla="*/ 453969 h 4048081"/>
                <a:gd name="connsiteX25" fmla="*/ 757447 w 3186245"/>
                <a:gd name="connsiteY25"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1835937 w 3186245"/>
                <a:gd name="connsiteY6" fmla="*/ 1335514 h 4048081"/>
                <a:gd name="connsiteX7" fmla="*/ 284983 w 3186245"/>
                <a:gd name="connsiteY7" fmla="*/ 993211 h 4048081"/>
                <a:gd name="connsiteX8" fmla="*/ 1234930 w 3186245"/>
                <a:gd name="connsiteY8" fmla="*/ 993211 h 4048081"/>
                <a:gd name="connsiteX9" fmla="*/ 1519914 w 3186245"/>
                <a:gd name="connsiteY9" fmla="*/ 1277385 h 4048081"/>
                <a:gd name="connsiteX10" fmla="*/ 1519914 w 3186245"/>
                <a:gd name="connsiteY10" fmla="*/ 2568008 h 4048081"/>
                <a:gd name="connsiteX11" fmla="*/ 1234930 w 3186245"/>
                <a:gd name="connsiteY11" fmla="*/ 2852182 h 4048081"/>
                <a:gd name="connsiteX12" fmla="*/ 1234930 w 3186245"/>
                <a:gd name="connsiteY12" fmla="*/ 3763907 h 4048081"/>
                <a:gd name="connsiteX13" fmla="*/ 961820 w 3186245"/>
                <a:gd name="connsiteY13" fmla="*/ 4048081 h 4048081"/>
                <a:gd name="connsiteX14" fmla="*/ 558093 w 3186245"/>
                <a:gd name="connsiteY14" fmla="*/ 4048081 h 4048081"/>
                <a:gd name="connsiteX15" fmla="*/ 284983 w 3186245"/>
                <a:gd name="connsiteY15" fmla="*/ 3763907 h 4048081"/>
                <a:gd name="connsiteX16" fmla="*/ 284983 w 3186245"/>
                <a:gd name="connsiteY16" fmla="*/ 2852182 h 4048081"/>
                <a:gd name="connsiteX17" fmla="*/ -1 w 3186245"/>
                <a:gd name="connsiteY17" fmla="*/ 2568008 h 4048081"/>
                <a:gd name="connsiteX18" fmla="*/ -1 w 3186245"/>
                <a:gd name="connsiteY18" fmla="*/ 1277385 h 4048081"/>
                <a:gd name="connsiteX19" fmla="*/ 284983 w 3186245"/>
                <a:gd name="connsiteY19" fmla="*/ 993211 h 4048081"/>
                <a:gd name="connsiteX20" fmla="*/ 757447 w 3186245"/>
                <a:gd name="connsiteY20" fmla="*/ 0 h 4048081"/>
                <a:gd name="connsiteX21" fmla="*/ 1208907 w 3186245"/>
                <a:gd name="connsiteY21" fmla="*/ 453969 h 4048081"/>
                <a:gd name="connsiteX22" fmla="*/ 757446 w 3186245"/>
                <a:gd name="connsiteY22" fmla="*/ 907938 h 4048081"/>
                <a:gd name="connsiteX23" fmla="*/ 305985 w 3186245"/>
                <a:gd name="connsiteY23" fmla="*/ 453969 h 4048081"/>
                <a:gd name="connsiteX24" fmla="*/ 757447 w 3186245"/>
                <a:gd name="connsiteY24"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1835937 w 3186245"/>
                <a:gd name="connsiteY5" fmla="*/ 1335514 h 4048081"/>
                <a:gd name="connsiteX6" fmla="*/ 284983 w 3186245"/>
                <a:gd name="connsiteY6" fmla="*/ 993211 h 4048081"/>
                <a:gd name="connsiteX7" fmla="*/ 1234930 w 3186245"/>
                <a:gd name="connsiteY7" fmla="*/ 993211 h 4048081"/>
                <a:gd name="connsiteX8" fmla="*/ 1519914 w 3186245"/>
                <a:gd name="connsiteY8" fmla="*/ 1277385 h 4048081"/>
                <a:gd name="connsiteX9" fmla="*/ 1519914 w 3186245"/>
                <a:gd name="connsiteY9" fmla="*/ 2568008 h 4048081"/>
                <a:gd name="connsiteX10" fmla="*/ 1234930 w 3186245"/>
                <a:gd name="connsiteY10" fmla="*/ 2852182 h 4048081"/>
                <a:gd name="connsiteX11" fmla="*/ 1234930 w 3186245"/>
                <a:gd name="connsiteY11" fmla="*/ 3763907 h 4048081"/>
                <a:gd name="connsiteX12" fmla="*/ 961820 w 3186245"/>
                <a:gd name="connsiteY12" fmla="*/ 4048081 h 4048081"/>
                <a:gd name="connsiteX13" fmla="*/ 558093 w 3186245"/>
                <a:gd name="connsiteY13" fmla="*/ 4048081 h 4048081"/>
                <a:gd name="connsiteX14" fmla="*/ 284983 w 3186245"/>
                <a:gd name="connsiteY14" fmla="*/ 3763907 h 4048081"/>
                <a:gd name="connsiteX15" fmla="*/ 284983 w 3186245"/>
                <a:gd name="connsiteY15" fmla="*/ 2852182 h 4048081"/>
                <a:gd name="connsiteX16" fmla="*/ -1 w 3186245"/>
                <a:gd name="connsiteY16" fmla="*/ 2568008 h 4048081"/>
                <a:gd name="connsiteX17" fmla="*/ -1 w 3186245"/>
                <a:gd name="connsiteY17" fmla="*/ 1277385 h 4048081"/>
                <a:gd name="connsiteX18" fmla="*/ 284983 w 3186245"/>
                <a:gd name="connsiteY18" fmla="*/ 993211 h 4048081"/>
                <a:gd name="connsiteX19" fmla="*/ 757447 w 3186245"/>
                <a:gd name="connsiteY19" fmla="*/ 0 h 4048081"/>
                <a:gd name="connsiteX20" fmla="*/ 1208907 w 3186245"/>
                <a:gd name="connsiteY20" fmla="*/ 453969 h 4048081"/>
                <a:gd name="connsiteX21" fmla="*/ 757446 w 3186245"/>
                <a:gd name="connsiteY21" fmla="*/ 907938 h 4048081"/>
                <a:gd name="connsiteX22" fmla="*/ 305985 w 3186245"/>
                <a:gd name="connsiteY22" fmla="*/ 453969 h 4048081"/>
                <a:gd name="connsiteX23" fmla="*/ 757447 w 3186245"/>
                <a:gd name="connsiteY23"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1835937 w 3186245"/>
                <a:gd name="connsiteY4" fmla="*/ 1335514 h 4048081"/>
                <a:gd name="connsiteX5" fmla="*/ 284983 w 3186245"/>
                <a:gd name="connsiteY5" fmla="*/ 993211 h 4048081"/>
                <a:gd name="connsiteX6" fmla="*/ 1234930 w 3186245"/>
                <a:gd name="connsiteY6" fmla="*/ 993211 h 4048081"/>
                <a:gd name="connsiteX7" fmla="*/ 1519914 w 3186245"/>
                <a:gd name="connsiteY7" fmla="*/ 1277385 h 4048081"/>
                <a:gd name="connsiteX8" fmla="*/ 1519914 w 3186245"/>
                <a:gd name="connsiteY8" fmla="*/ 2568008 h 4048081"/>
                <a:gd name="connsiteX9" fmla="*/ 1234930 w 3186245"/>
                <a:gd name="connsiteY9" fmla="*/ 2852182 h 4048081"/>
                <a:gd name="connsiteX10" fmla="*/ 1234930 w 3186245"/>
                <a:gd name="connsiteY10" fmla="*/ 3763907 h 4048081"/>
                <a:gd name="connsiteX11" fmla="*/ 961820 w 3186245"/>
                <a:gd name="connsiteY11" fmla="*/ 4048081 h 4048081"/>
                <a:gd name="connsiteX12" fmla="*/ 558093 w 3186245"/>
                <a:gd name="connsiteY12" fmla="*/ 4048081 h 4048081"/>
                <a:gd name="connsiteX13" fmla="*/ 284983 w 3186245"/>
                <a:gd name="connsiteY13" fmla="*/ 3763907 h 4048081"/>
                <a:gd name="connsiteX14" fmla="*/ 284983 w 3186245"/>
                <a:gd name="connsiteY14" fmla="*/ 2852182 h 4048081"/>
                <a:gd name="connsiteX15" fmla="*/ -1 w 3186245"/>
                <a:gd name="connsiteY15" fmla="*/ 2568008 h 4048081"/>
                <a:gd name="connsiteX16" fmla="*/ -1 w 3186245"/>
                <a:gd name="connsiteY16" fmla="*/ 1277385 h 4048081"/>
                <a:gd name="connsiteX17" fmla="*/ 284983 w 3186245"/>
                <a:gd name="connsiteY17" fmla="*/ 993211 h 4048081"/>
                <a:gd name="connsiteX18" fmla="*/ 757447 w 3186245"/>
                <a:gd name="connsiteY18" fmla="*/ 0 h 4048081"/>
                <a:gd name="connsiteX19" fmla="*/ 1208907 w 3186245"/>
                <a:gd name="connsiteY19" fmla="*/ 453969 h 4048081"/>
                <a:gd name="connsiteX20" fmla="*/ 757446 w 3186245"/>
                <a:gd name="connsiteY20" fmla="*/ 907938 h 4048081"/>
                <a:gd name="connsiteX21" fmla="*/ 305985 w 3186245"/>
                <a:gd name="connsiteY21" fmla="*/ 453969 h 4048081"/>
                <a:gd name="connsiteX22" fmla="*/ 757447 w 3186245"/>
                <a:gd name="connsiteY22"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30124"/>
                <a:gd name="connsiteY0" fmla="*/ 1335514 h 4048081"/>
                <a:gd name="connsiteX1" fmla="*/ 3130124 w 3130124"/>
                <a:gd name="connsiteY1" fmla="*/ 2449249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1835937 w 3130124"/>
                <a:gd name="connsiteY0" fmla="*/ 1335514 h 4048081"/>
                <a:gd name="connsiteX1" fmla="*/ 3130124 w 3130124"/>
                <a:gd name="connsiteY1" fmla="*/ 2449250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913" h="4048081">
                  <a:moveTo>
                    <a:pt x="284983" y="993211"/>
                  </a:moveTo>
                  <a:lnTo>
                    <a:pt x="1234930" y="993211"/>
                  </a:lnTo>
                  <a:cubicBezTo>
                    <a:pt x="1389296" y="993211"/>
                    <a:pt x="1519914" y="1123457"/>
                    <a:pt x="1519914" y="1277385"/>
                  </a:cubicBezTo>
                  <a:lnTo>
                    <a:pt x="1519914" y="2568008"/>
                  </a:lnTo>
                  <a:cubicBezTo>
                    <a:pt x="1519914" y="2721936"/>
                    <a:pt x="1389296" y="2852182"/>
                    <a:pt x="1234930" y="2852182"/>
                  </a:cubicBezTo>
                  <a:lnTo>
                    <a:pt x="1234930" y="3763907"/>
                  </a:lnTo>
                  <a:cubicBezTo>
                    <a:pt x="1234930" y="3917835"/>
                    <a:pt x="1116187" y="4048081"/>
                    <a:pt x="961820" y="4048081"/>
                  </a:cubicBezTo>
                  <a:lnTo>
                    <a:pt x="558093" y="4048081"/>
                  </a:lnTo>
                  <a:cubicBezTo>
                    <a:pt x="403726" y="4048081"/>
                    <a:pt x="284983" y="3917835"/>
                    <a:pt x="284983" y="3763907"/>
                  </a:cubicBezTo>
                  <a:lnTo>
                    <a:pt x="284983" y="2852182"/>
                  </a:lnTo>
                  <a:cubicBezTo>
                    <a:pt x="130617" y="2852182"/>
                    <a:pt x="-1" y="2721936"/>
                    <a:pt x="-1" y="2568008"/>
                  </a:cubicBezTo>
                  <a:lnTo>
                    <a:pt x="-1" y="1277385"/>
                  </a:lnTo>
                  <a:cubicBezTo>
                    <a:pt x="-1" y="1123457"/>
                    <a:pt x="130617" y="993211"/>
                    <a:pt x="284983" y="993211"/>
                  </a:cubicBezTo>
                  <a:close/>
                  <a:moveTo>
                    <a:pt x="757447" y="0"/>
                  </a:moveTo>
                  <a:cubicBezTo>
                    <a:pt x="1006782" y="0"/>
                    <a:pt x="1208908" y="198778"/>
                    <a:pt x="1208907" y="453969"/>
                  </a:cubicBezTo>
                  <a:cubicBezTo>
                    <a:pt x="1208906" y="709160"/>
                    <a:pt x="1006781" y="907938"/>
                    <a:pt x="757446" y="907938"/>
                  </a:cubicBezTo>
                  <a:cubicBezTo>
                    <a:pt x="508111" y="907938"/>
                    <a:pt x="298624" y="701997"/>
                    <a:pt x="305985" y="453969"/>
                  </a:cubicBezTo>
                  <a:cubicBezTo>
                    <a:pt x="313346" y="205941"/>
                    <a:pt x="508112" y="0"/>
                    <a:pt x="757447"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4" name="TextBox 33"/>
            <p:cNvSpPr txBox="1"/>
            <p:nvPr/>
          </p:nvSpPr>
          <p:spPr>
            <a:xfrm>
              <a:off x="3120574" y="2938066"/>
              <a:ext cx="183089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BizSpark Admin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Developer 1</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p:txBody>
        </p:sp>
      </p:grpSp>
      <p:grpSp>
        <p:nvGrpSpPr>
          <p:cNvPr id="36" name="Group 35"/>
          <p:cNvGrpSpPr/>
          <p:nvPr/>
        </p:nvGrpSpPr>
        <p:grpSpPr>
          <a:xfrm>
            <a:off x="5448670" y="2319772"/>
            <a:ext cx="2832100" cy="931980"/>
            <a:chOff x="6636082" y="5041746"/>
            <a:chExt cx="2832100" cy="931980"/>
          </a:xfrm>
        </p:grpSpPr>
        <p:sp>
          <p:nvSpPr>
            <p:cNvPr id="22" name="TextBox 21"/>
            <p:cNvSpPr txBox="1"/>
            <p:nvPr/>
          </p:nvSpPr>
          <p:spPr>
            <a:xfrm>
              <a:off x="6636082" y="5635172"/>
              <a:ext cx="28321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MSDN Subscription</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32" name="Freeform 13"/>
            <p:cNvSpPr>
              <a:spLocks noChangeAspect="1" noEditPoints="1"/>
            </p:cNvSpPr>
            <p:nvPr/>
          </p:nvSpPr>
          <p:spPr bwMode="black">
            <a:xfrm>
              <a:off x="7804523" y="5041746"/>
              <a:ext cx="495218" cy="495837"/>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grpSp>
      <p:grpSp>
        <p:nvGrpSpPr>
          <p:cNvPr id="68" name="Group 67"/>
          <p:cNvGrpSpPr/>
          <p:nvPr/>
        </p:nvGrpSpPr>
        <p:grpSpPr>
          <a:xfrm>
            <a:off x="5448670" y="4282125"/>
            <a:ext cx="2832100" cy="931980"/>
            <a:chOff x="6636082" y="5041746"/>
            <a:chExt cx="2832100" cy="931980"/>
          </a:xfrm>
        </p:grpSpPr>
        <p:sp>
          <p:nvSpPr>
            <p:cNvPr id="69" name="TextBox 68"/>
            <p:cNvSpPr txBox="1"/>
            <p:nvPr/>
          </p:nvSpPr>
          <p:spPr>
            <a:xfrm>
              <a:off x="6636082" y="5635172"/>
              <a:ext cx="28321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MSDN Subscription</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70" name="Freeform 13"/>
            <p:cNvSpPr>
              <a:spLocks noChangeAspect="1" noEditPoints="1"/>
            </p:cNvSpPr>
            <p:nvPr/>
          </p:nvSpPr>
          <p:spPr bwMode="black">
            <a:xfrm>
              <a:off x="7804523" y="5041746"/>
              <a:ext cx="495218" cy="495837"/>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grpSp>
      <p:cxnSp>
        <p:nvCxnSpPr>
          <p:cNvPr id="75" name="Straight Connector 74"/>
          <p:cNvCxnSpPr/>
          <p:nvPr/>
        </p:nvCxnSpPr>
        <p:spPr>
          <a:xfrm>
            <a:off x="1911927" y="3775765"/>
            <a:ext cx="91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2833254" y="2919514"/>
            <a:ext cx="0" cy="1828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109974" y="2785762"/>
            <a:ext cx="457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109974" y="4748115"/>
            <a:ext cx="457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8052170" y="2785762"/>
            <a:ext cx="457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8052170" y="4748115"/>
            <a:ext cx="45720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96" name="Group 95"/>
          <p:cNvGrpSpPr/>
          <p:nvPr/>
        </p:nvGrpSpPr>
        <p:grpSpPr>
          <a:xfrm>
            <a:off x="8828323" y="2218140"/>
            <a:ext cx="2832100" cy="1135244"/>
            <a:chOff x="8777972" y="2322045"/>
            <a:chExt cx="2832100" cy="1135244"/>
          </a:xfrm>
        </p:grpSpPr>
        <p:grpSp>
          <p:nvGrpSpPr>
            <p:cNvPr id="38" name="Group 37"/>
            <p:cNvGrpSpPr/>
            <p:nvPr/>
          </p:nvGrpSpPr>
          <p:grpSpPr>
            <a:xfrm>
              <a:off x="9457020" y="2322045"/>
              <a:ext cx="1474005" cy="481199"/>
              <a:chOff x="1358317" y="2506210"/>
              <a:chExt cx="5601970" cy="1828800"/>
            </a:xfrm>
          </p:grpSpPr>
          <p:pic>
            <p:nvPicPr>
              <p:cNvPr id="39" name="Picture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58317" y="2734810"/>
                <a:ext cx="2212258" cy="1371600"/>
              </a:xfrm>
              <a:prstGeom prst="rect">
                <a:avLst/>
              </a:prstGeom>
            </p:spPr>
          </p:pic>
          <p:pic>
            <p:nvPicPr>
              <p:cNvPr id="40" name="Picture 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36048" y="2506210"/>
                <a:ext cx="1824239" cy="1828800"/>
              </a:xfrm>
              <a:prstGeom prst="rect">
                <a:avLst/>
              </a:prstGeom>
            </p:spPr>
          </p:pic>
        </p:grpSp>
        <p:sp>
          <p:nvSpPr>
            <p:cNvPr id="87" name="TextBox 86"/>
            <p:cNvSpPr txBox="1"/>
            <p:nvPr/>
          </p:nvSpPr>
          <p:spPr>
            <a:xfrm>
              <a:off x="8777972" y="2872514"/>
              <a:ext cx="28321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a:ea typeface="+mn-ea"/>
                  <a:cs typeface="+mn-cs"/>
                </a:rPr>
                <a:t>$150/month </a:t>
              </a: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in Azure Credits</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Free Microsoft Software etc.</a:t>
              </a:r>
            </a:p>
          </p:txBody>
        </p:sp>
      </p:grpSp>
      <p:grpSp>
        <p:nvGrpSpPr>
          <p:cNvPr id="97" name="Group 96"/>
          <p:cNvGrpSpPr/>
          <p:nvPr/>
        </p:nvGrpSpPr>
        <p:grpSpPr>
          <a:xfrm>
            <a:off x="8828323" y="4180493"/>
            <a:ext cx="2832100" cy="1135244"/>
            <a:chOff x="8878674" y="3993384"/>
            <a:chExt cx="2832100" cy="1135244"/>
          </a:xfrm>
        </p:grpSpPr>
        <p:grpSp>
          <p:nvGrpSpPr>
            <p:cNvPr id="91" name="Group 90"/>
            <p:cNvGrpSpPr/>
            <p:nvPr/>
          </p:nvGrpSpPr>
          <p:grpSpPr>
            <a:xfrm>
              <a:off x="9557722" y="3993384"/>
              <a:ext cx="1474005" cy="481199"/>
              <a:chOff x="1358316" y="2506210"/>
              <a:chExt cx="5601971" cy="1828800"/>
            </a:xfrm>
          </p:grpSpPr>
          <p:pic>
            <p:nvPicPr>
              <p:cNvPr id="93" name="Picture 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58316" y="2734810"/>
                <a:ext cx="2212258" cy="1371599"/>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36046" y="2506210"/>
                <a:ext cx="1824241" cy="1828800"/>
              </a:xfrm>
              <a:prstGeom prst="rect">
                <a:avLst/>
              </a:prstGeom>
            </p:spPr>
          </p:pic>
        </p:grpSp>
        <p:sp>
          <p:nvSpPr>
            <p:cNvPr id="92" name="TextBox 91"/>
            <p:cNvSpPr txBox="1"/>
            <p:nvPr/>
          </p:nvSpPr>
          <p:spPr>
            <a:xfrm>
              <a:off x="8878674" y="4543853"/>
              <a:ext cx="28321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a:ea typeface="+mn-ea"/>
                  <a:cs typeface="+mn-cs"/>
                </a:rPr>
                <a:t>$150/month </a:t>
              </a: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in Azure Credits</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Free Microsoft Software etc.</a:t>
              </a:r>
            </a:p>
          </p:txBody>
        </p:sp>
      </p:grpSp>
    </p:spTree>
    <p:extLst>
      <p:ext uri="{BB962C8B-B14F-4D97-AF65-F5344CB8AC3E}">
        <p14:creationId xmlns:p14="http://schemas.microsoft.com/office/powerpoint/2010/main" val="33247079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solidFill>
                  <a:schemeClr val="bg1"/>
                </a:solidFill>
                <a:latin typeface="Segoe Pro Display Semibold" panose="020B0702040504020203" pitchFamily="34" charset="0"/>
              </a:rPr>
              <a:t>Maximize </a:t>
            </a:r>
            <a:r>
              <a:rPr lang="en-US" b="1" dirty="0" smtClean="0">
                <a:solidFill>
                  <a:schemeClr val="bg1"/>
                </a:solidFill>
                <a:latin typeface="+mn-lt"/>
              </a:rPr>
              <a:t>your benefits</a:t>
            </a:r>
            <a:endParaRPr lang="en-US" b="1" dirty="0">
              <a:solidFill>
                <a:schemeClr val="bg1"/>
              </a:solidFill>
              <a:latin typeface="+mn-lt"/>
            </a:endParaRPr>
          </a:p>
        </p:txBody>
      </p:sp>
      <p:sp>
        <p:nvSpPr>
          <p:cNvPr id="3" name="Content Placeholder 2"/>
          <p:cNvSpPr>
            <a:spLocks noGrp="1"/>
          </p:cNvSpPr>
          <p:nvPr>
            <p:ph idx="1"/>
          </p:nvPr>
        </p:nvSpPr>
        <p:spPr>
          <a:xfrm>
            <a:off x="838199" y="1825625"/>
            <a:ext cx="11118273" cy="4351338"/>
          </a:xfrm>
        </p:spPr>
        <p:txBody>
          <a:bodyPr>
            <a:normAutofit fontScale="77500" lnSpcReduction="20000"/>
          </a:bodyPr>
          <a:lstStyle/>
          <a:p>
            <a:pPr marL="0" indent="0">
              <a:lnSpc>
                <a:spcPct val="160000"/>
              </a:lnSpc>
              <a:buNone/>
            </a:pPr>
            <a:r>
              <a:rPr lang="en-US" dirty="0" smtClean="0">
                <a:solidFill>
                  <a:schemeClr val="bg1"/>
                </a:solidFill>
                <a:cs typeface="Segoe UI Semibold" panose="020B0702040204020203" pitchFamily="34" charset="0"/>
              </a:rPr>
              <a:t>Use one Azure subscription for </a:t>
            </a:r>
            <a:r>
              <a:rPr lang="en-US" dirty="0" err="1" smtClean="0">
                <a:solidFill>
                  <a:schemeClr val="bg1"/>
                </a:solidFill>
                <a:cs typeface="Segoe UI Semibold" panose="020B0702040204020203" pitchFamily="34" charset="0"/>
              </a:rPr>
              <a:t>dev</a:t>
            </a:r>
            <a:endParaRPr lang="en-US" dirty="0" smtClean="0">
              <a:solidFill>
                <a:schemeClr val="bg1"/>
              </a:solidFill>
              <a:cs typeface="Segoe UI Semibold" panose="020B0702040204020203" pitchFamily="34" charset="0"/>
            </a:endParaRPr>
          </a:p>
          <a:p>
            <a:pPr marL="0" indent="0">
              <a:lnSpc>
                <a:spcPct val="160000"/>
              </a:lnSpc>
              <a:buNone/>
            </a:pPr>
            <a:r>
              <a:rPr lang="en-US" dirty="0" smtClean="0">
                <a:solidFill>
                  <a:schemeClr val="bg1"/>
                </a:solidFill>
                <a:cs typeface="Segoe UI Semibold" panose="020B0702040204020203" pitchFamily="34" charset="0"/>
              </a:rPr>
              <a:t>Use another Azure subscription for production</a:t>
            </a:r>
          </a:p>
          <a:p>
            <a:pPr marL="0" indent="0">
              <a:lnSpc>
                <a:spcPct val="160000"/>
              </a:lnSpc>
              <a:buNone/>
            </a:pPr>
            <a:r>
              <a:rPr lang="en-US" dirty="0" smtClean="0">
                <a:solidFill>
                  <a:schemeClr val="bg1"/>
                </a:solidFill>
                <a:cs typeface="Segoe UI Semibold" panose="020B0702040204020203" pitchFamily="34" charset="0"/>
              </a:rPr>
              <a:t>Use another Azure subscription for betas, previews and custom demos</a:t>
            </a:r>
          </a:p>
          <a:p>
            <a:pPr marL="0" indent="0">
              <a:lnSpc>
                <a:spcPct val="160000"/>
              </a:lnSpc>
              <a:buNone/>
            </a:pPr>
            <a:r>
              <a:rPr lang="en-US" dirty="0" smtClean="0">
                <a:solidFill>
                  <a:schemeClr val="bg1"/>
                </a:solidFill>
                <a:cs typeface="Segoe UI Semibold" panose="020B0702040204020203" pitchFamily="34" charset="0"/>
              </a:rPr>
              <a:t>If 4 isn’t enough you can always request more by emailing bizspark@microsoft.com</a:t>
            </a:r>
            <a:endParaRPr lang="en-US" dirty="0">
              <a:solidFill>
                <a:schemeClr val="bg1"/>
              </a:solidFill>
              <a:cs typeface="Segoe UI Semibold" panose="020B0702040204020203" pitchFamily="34" charset="0"/>
            </a:endParaRPr>
          </a:p>
        </p:txBody>
      </p:sp>
    </p:spTree>
    <p:extLst>
      <p:ext uri="{BB962C8B-B14F-4D97-AF65-F5344CB8AC3E}">
        <p14:creationId xmlns:p14="http://schemas.microsoft.com/office/powerpoint/2010/main" val="1186297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p:cNvSpPr/>
          <p:nvPr/>
        </p:nvSpPr>
        <p:spPr>
          <a:xfrm>
            <a:off x="9428525" y="4315891"/>
            <a:ext cx="1847273" cy="1847273"/>
          </a:xfrm>
          <a:prstGeom prst="rect">
            <a:avLst/>
          </a:prstGeom>
          <a:solidFill>
            <a:srgbClr val="FFFC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5" name="Title 4"/>
          <p:cNvSpPr>
            <a:spLocks noGrp="1"/>
          </p:cNvSpPr>
          <p:nvPr>
            <p:ph type="title"/>
          </p:nvPr>
        </p:nvSpPr>
        <p:spPr/>
        <p:txBody>
          <a:bodyPr>
            <a:noAutofit/>
          </a:bodyPr>
          <a:lstStyle/>
          <a:p>
            <a:pPr algn="ctr"/>
            <a:r>
              <a:rPr lang="en-US" sz="4000" dirty="0">
                <a:solidFill>
                  <a:schemeClr val="bg1"/>
                </a:solidFill>
              </a:rPr>
              <a:t>Join </a:t>
            </a:r>
            <a:r>
              <a:rPr lang="en-US" sz="4000" dirty="0" smtClean="0">
                <a:solidFill>
                  <a:schemeClr val="bg1"/>
                </a:solidFill>
              </a:rPr>
              <a:t>the over 2,800       </a:t>
            </a:r>
            <a:r>
              <a:rPr lang="en-US" sz="4000" dirty="0">
                <a:solidFill>
                  <a:schemeClr val="bg1"/>
                </a:solidFill>
              </a:rPr>
              <a:t>tech startups </a:t>
            </a:r>
            <a:r>
              <a:rPr lang="en-US" sz="4000" dirty="0" smtClean="0">
                <a:solidFill>
                  <a:schemeClr val="bg1"/>
                </a:solidFill>
              </a:rPr>
              <a:t>benefiting from BizSpark &amp; Microsoft Azure today</a:t>
            </a:r>
            <a:endParaRPr lang="en-US" sz="4000" dirty="0">
              <a:solidFill>
                <a:schemeClr val="bg1"/>
              </a:solidFill>
              <a:latin typeface="Segoe UI Semibold" panose="020B0702040204020203" pitchFamily="34" charset="0"/>
              <a:cs typeface="Segoe UI Semibold" panose="020B0702040204020203" pitchFamily="34" charset="0"/>
            </a:endParaRPr>
          </a:p>
        </p:txBody>
      </p:sp>
      <p:grpSp>
        <p:nvGrpSpPr>
          <p:cNvPr id="85" name="Group 84"/>
          <p:cNvGrpSpPr/>
          <p:nvPr/>
        </p:nvGrpSpPr>
        <p:grpSpPr>
          <a:xfrm>
            <a:off x="890965" y="2108976"/>
            <a:ext cx="10384833" cy="4054282"/>
            <a:chOff x="828101" y="1780561"/>
            <a:chExt cx="10384833" cy="4054282"/>
          </a:xfrm>
        </p:grpSpPr>
        <p:grpSp>
          <p:nvGrpSpPr>
            <p:cNvPr id="63" name="Group 62"/>
            <p:cNvGrpSpPr/>
            <p:nvPr/>
          </p:nvGrpSpPr>
          <p:grpSpPr>
            <a:xfrm>
              <a:off x="828101" y="1780561"/>
              <a:ext cx="1867469" cy="1847273"/>
              <a:chOff x="828101" y="1812375"/>
              <a:chExt cx="1867469" cy="1847273"/>
            </a:xfrm>
          </p:grpSpPr>
          <p:sp>
            <p:nvSpPr>
              <p:cNvPr id="15" name="Rectangle 14"/>
              <p:cNvSpPr/>
              <p:nvPr/>
            </p:nvSpPr>
            <p:spPr>
              <a:xfrm>
                <a:off x="838199" y="1812375"/>
                <a:ext cx="1847273" cy="1847273"/>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dirty="0">
                  <a:ln>
                    <a:noFill/>
                  </a:ln>
                  <a:solidFill>
                    <a:prstClr val="white"/>
                  </a:solidFill>
                  <a:effectLst/>
                  <a:uLnTx/>
                  <a:uFillTx/>
                  <a:latin typeface="Segoe UI Light"/>
                  <a:ea typeface="+mn-ea"/>
                  <a:cs typeface="+mn-cs"/>
                </a:endParaRPr>
              </a:p>
            </p:txBody>
          </p:sp>
          <p:pic>
            <p:nvPicPr>
              <p:cNvPr id="7" name="Picture 19" descr="C:\Users\a-andhow\Documents\Startup Audience\Logos\BizSpark Members\500p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8101" y="2226701"/>
                <a:ext cx="1867469" cy="10186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5" name="Group 64"/>
            <p:cNvGrpSpPr/>
            <p:nvPr/>
          </p:nvGrpSpPr>
          <p:grpSpPr>
            <a:xfrm>
              <a:off x="5107071" y="1780561"/>
              <a:ext cx="1847273" cy="1847273"/>
              <a:chOff x="5239838" y="1771895"/>
              <a:chExt cx="1847273" cy="1847273"/>
            </a:xfrm>
          </p:grpSpPr>
          <p:sp>
            <p:nvSpPr>
              <p:cNvPr id="61" name="Rectangle 60"/>
              <p:cNvSpPr/>
              <p:nvPr/>
            </p:nvSpPr>
            <p:spPr>
              <a:xfrm>
                <a:off x="5239838" y="1771895"/>
                <a:ext cx="1847273" cy="1847273"/>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pic>
            <p:nvPicPr>
              <p:cNvPr id="8" name="Picture 16" descr="C:\Users\a-andhow\Documents\Startup Audience\Logos\BizSpark Members\Jintroni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73540" y="2257721"/>
                <a:ext cx="1579869" cy="8756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6" name="Group 65"/>
            <p:cNvGrpSpPr/>
            <p:nvPr/>
          </p:nvGrpSpPr>
          <p:grpSpPr>
            <a:xfrm>
              <a:off x="7236458" y="1780561"/>
              <a:ext cx="1847273" cy="1847273"/>
              <a:chOff x="7864750" y="1716628"/>
              <a:chExt cx="1847273" cy="1847273"/>
            </a:xfrm>
          </p:grpSpPr>
          <p:sp>
            <p:nvSpPr>
              <p:cNvPr id="62" name="Rectangle 61"/>
              <p:cNvSpPr/>
              <p:nvPr/>
            </p:nvSpPr>
            <p:spPr>
              <a:xfrm>
                <a:off x="7864750" y="1716628"/>
                <a:ext cx="1847273" cy="1847273"/>
              </a:xfrm>
              <a:prstGeom prst="rect">
                <a:avLst/>
              </a:prstGeom>
              <a:solidFill>
                <a:srgbClr val="6DC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pic>
            <p:nvPicPr>
              <p:cNvPr id="9" name="Picture 17" descr="C:\Users\a-andhow\Documents\Startup Audience\Logos\BizSpark Members\Nanu Interactiv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35296" y="2323488"/>
                <a:ext cx="1706180" cy="6335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Group 63"/>
            <p:cNvGrpSpPr/>
            <p:nvPr/>
          </p:nvGrpSpPr>
          <p:grpSpPr>
            <a:xfrm>
              <a:off x="2977684" y="1780561"/>
              <a:ext cx="1847273" cy="1847273"/>
              <a:chOff x="3129841" y="1748747"/>
              <a:chExt cx="1847273" cy="1847273"/>
            </a:xfrm>
          </p:grpSpPr>
          <p:sp>
            <p:nvSpPr>
              <p:cNvPr id="60" name="Rectangle 59"/>
              <p:cNvSpPr/>
              <p:nvPr/>
            </p:nvSpPr>
            <p:spPr>
              <a:xfrm>
                <a:off x="3129841" y="1748747"/>
                <a:ext cx="1847273" cy="1847273"/>
              </a:xfrm>
              <a:prstGeom prst="rect">
                <a:avLst/>
              </a:prstGeom>
              <a:solidFill>
                <a:srgbClr val="00D8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pic>
            <p:nvPicPr>
              <p:cNvPr id="6" name="Picture 18" descr="C:\Users\a-andhow\Documents\Startup Audience\Logos\BizSpark Members\RatRod Studi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96942" y="2407398"/>
                <a:ext cx="1513070" cy="529970"/>
              </a:xfrm>
              <a:prstGeom prst="rect">
                <a:avLst/>
              </a:prstGeom>
              <a:noFill/>
              <a:extLst>
                <a:ext uri="{909E8E84-426E-40DD-AFC4-6F175D3DCCD1}">
                  <a14:hiddenFill xmlns:a14="http://schemas.microsoft.com/office/drawing/2010/main">
                    <a:solidFill>
                      <a:srgbClr val="FFFFFF"/>
                    </a:solidFill>
                  </a14:hiddenFill>
                </a:ext>
              </a:extLst>
            </p:spPr>
          </p:pic>
        </p:grpSp>
        <p:pic>
          <p:nvPicPr>
            <p:cNvPr id="67" name="Picture 66"/>
            <p:cNvPicPr>
              <a:picLocks noChangeAspect="1"/>
            </p:cNvPicPr>
            <p:nvPr/>
          </p:nvPicPr>
          <p:blipFill>
            <a:blip r:embed="rId7"/>
            <a:stretch>
              <a:fillRect/>
            </a:stretch>
          </p:blipFill>
          <p:spPr>
            <a:xfrm>
              <a:off x="9365846" y="1780653"/>
              <a:ext cx="1847088" cy="1847088"/>
            </a:xfrm>
            <a:prstGeom prst="rect">
              <a:avLst/>
            </a:prstGeom>
          </p:spPr>
        </p:pic>
        <p:sp>
          <p:nvSpPr>
            <p:cNvPr id="69" name="Rectangle 68"/>
            <p:cNvSpPr/>
            <p:nvPr/>
          </p:nvSpPr>
          <p:spPr>
            <a:xfrm>
              <a:off x="836795" y="3987570"/>
              <a:ext cx="1847273" cy="184727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pic>
          <p:nvPicPr>
            <p:cNvPr id="72" name="Picture 71"/>
            <p:cNvPicPr>
              <a:picLocks noChangeAspect="1"/>
            </p:cNvPicPr>
            <p:nvPr/>
          </p:nvPicPr>
          <p:blipFill>
            <a:blip r:embed="rId8"/>
            <a:stretch>
              <a:fillRect/>
            </a:stretch>
          </p:blipFill>
          <p:spPr>
            <a:xfrm>
              <a:off x="5107071" y="3987662"/>
              <a:ext cx="1847088" cy="1847088"/>
            </a:xfrm>
            <a:prstGeom prst="rect">
              <a:avLst/>
            </a:prstGeom>
          </p:spPr>
        </p:pic>
        <p:grpSp>
          <p:nvGrpSpPr>
            <p:cNvPr id="78" name="Group 77"/>
            <p:cNvGrpSpPr/>
            <p:nvPr/>
          </p:nvGrpSpPr>
          <p:grpSpPr>
            <a:xfrm>
              <a:off x="2977683" y="3987477"/>
              <a:ext cx="1847273" cy="1847273"/>
              <a:chOff x="3559513" y="4126465"/>
              <a:chExt cx="1847273" cy="1847273"/>
            </a:xfrm>
          </p:grpSpPr>
          <p:sp>
            <p:nvSpPr>
              <p:cNvPr id="76" name="Rectangle 75"/>
              <p:cNvSpPr/>
              <p:nvPr/>
            </p:nvSpPr>
            <p:spPr>
              <a:xfrm>
                <a:off x="3559513" y="4126465"/>
                <a:ext cx="1847273" cy="1847273"/>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pic>
            <p:nvPicPr>
              <p:cNvPr id="74" name="Picture 7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69085" y="4737708"/>
                <a:ext cx="1628129" cy="624786"/>
              </a:xfrm>
              <a:prstGeom prst="rect">
                <a:avLst/>
              </a:prstGeom>
            </p:spPr>
          </p:pic>
        </p:grpSp>
        <p:grpSp>
          <p:nvGrpSpPr>
            <p:cNvPr id="84" name="Group 83"/>
            <p:cNvGrpSpPr/>
            <p:nvPr/>
          </p:nvGrpSpPr>
          <p:grpSpPr>
            <a:xfrm>
              <a:off x="7251774" y="3987477"/>
              <a:ext cx="1847273" cy="1847273"/>
              <a:chOff x="7822873" y="3908909"/>
              <a:chExt cx="1847273" cy="1847273"/>
            </a:xfrm>
          </p:grpSpPr>
          <p:sp>
            <p:nvSpPr>
              <p:cNvPr id="82" name="Rectangle 81"/>
              <p:cNvSpPr/>
              <p:nvPr/>
            </p:nvSpPr>
            <p:spPr>
              <a:xfrm>
                <a:off x="7822873" y="3908909"/>
                <a:ext cx="1847273" cy="1847273"/>
              </a:xfrm>
              <a:prstGeom prst="rect">
                <a:avLst/>
              </a:prstGeom>
              <a:solidFill>
                <a:srgbClr val="FCD1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pic>
            <p:nvPicPr>
              <p:cNvPr id="79" name="Picture 7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06274" y="4598812"/>
                <a:ext cx="1680471" cy="467466"/>
              </a:xfrm>
              <a:prstGeom prst="rect">
                <a:avLst/>
              </a:prstGeom>
            </p:spPr>
          </p:pic>
        </p:grpSp>
      </p:grpSp>
      <p:pic>
        <p:nvPicPr>
          <p:cNvPr id="3" name="Picture 2"/>
          <p:cNvPicPr>
            <a:picLocks noChangeAspect="1"/>
          </p:cNvPicPr>
          <p:nvPr/>
        </p:nvPicPr>
        <p:blipFill>
          <a:blip r:embed="rId11"/>
          <a:stretch>
            <a:fillRect/>
          </a:stretch>
        </p:blipFill>
        <p:spPr>
          <a:xfrm>
            <a:off x="988142" y="4696678"/>
            <a:ext cx="1670305" cy="1085698"/>
          </a:xfrm>
          <a:prstGeom prst="rect">
            <a:avLst/>
          </a:prstGeom>
        </p:spPr>
      </p:pic>
      <p:pic>
        <p:nvPicPr>
          <p:cNvPr id="12" name="Picture 11"/>
          <p:cNvPicPr>
            <a:picLocks noChangeAspect="1"/>
          </p:cNvPicPr>
          <p:nvPr/>
        </p:nvPicPr>
        <p:blipFill>
          <a:blip r:embed="rId12"/>
          <a:stretch>
            <a:fillRect/>
          </a:stretch>
        </p:blipFill>
        <p:spPr>
          <a:xfrm>
            <a:off x="9428526" y="4306763"/>
            <a:ext cx="1856402" cy="1856402"/>
          </a:xfrm>
          <a:prstGeom prst="rect">
            <a:avLst/>
          </a:prstGeom>
        </p:spPr>
      </p:pic>
      <p:pic>
        <p:nvPicPr>
          <p:cNvPr id="13" name="Picture 1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314638" y="4306763"/>
            <a:ext cx="1856401" cy="1856401"/>
          </a:xfrm>
          <a:prstGeom prst="rect">
            <a:avLst/>
          </a:prstGeom>
        </p:spPr>
      </p:pic>
      <p:sp>
        <p:nvSpPr>
          <p:cNvPr id="14" name="TextBox 13"/>
          <p:cNvSpPr txBox="1"/>
          <p:nvPr/>
        </p:nvSpPr>
        <p:spPr>
          <a:xfrm>
            <a:off x="7512282" y="5782745"/>
            <a:ext cx="156376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Segoe UI Light"/>
                <a:ea typeface="+mn-ea"/>
                <a:cs typeface="+mn-cs"/>
              </a:rPr>
              <a:t>Fhotoroom</a:t>
            </a:r>
            <a:endParaRPr kumimoji="0" lang="en-US" sz="2000" b="0" i="0" u="none" strike="noStrike" kern="1200" cap="none" spc="0" normalizeH="0" baseline="0" noProof="0" dirty="0">
              <a:ln>
                <a:noFill/>
              </a:ln>
              <a:solidFill>
                <a:prstClr val="white"/>
              </a:solidFill>
              <a:effectLst/>
              <a:uLnTx/>
              <a:uFillTx/>
              <a:latin typeface="Segoe UI Light"/>
              <a:ea typeface="+mn-ea"/>
              <a:cs typeface="+mn-cs"/>
            </a:endParaRPr>
          </a:p>
        </p:txBody>
      </p:sp>
      <p:pic>
        <p:nvPicPr>
          <p:cNvPr id="10" name="Picture 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295923" y="397848"/>
            <a:ext cx="607719" cy="654466"/>
          </a:xfrm>
          <a:prstGeom prst="rect">
            <a:avLst/>
          </a:prstGeom>
        </p:spPr>
      </p:pic>
    </p:spTree>
    <p:extLst>
      <p:ext uri="{BB962C8B-B14F-4D97-AF65-F5344CB8AC3E}">
        <p14:creationId xmlns:p14="http://schemas.microsoft.com/office/powerpoint/2010/main" val="2768925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8455" y="1057105"/>
            <a:ext cx="11475214" cy="3850352"/>
          </a:xfrm>
        </p:spPr>
        <p:txBody>
          <a:bodyPr>
            <a:normAutofit/>
          </a:bodyPr>
          <a:lstStyle/>
          <a:p>
            <a:pPr algn="ctr">
              <a:lnSpc>
                <a:spcPct val="150000"/>
              </a:lnSpc>
            </a:pPr>
            <a:r>
              <a:rPr lang="en-US" dirty="0" smtClean="0">
                <a:latin typeface="Segoe Pro Display Semibold" panose="020B0702040504020203" pitchFamily="34" charset="0"/>
              </a:rPr>
              <a:t>thank you</a:t>
            </a:r>
            <a:endParaRPr lang="en-US" dirty="0">
              <a:latin typeface="Segoe Pro Display Semibold" panose="020B0702040504020203" pitchFamily="34" charset="0"/>
            </a:endParaRPr>
          </a:p>
        </p:txBody>
      </p:sp>
      <p:sp>
        <p:nvSpPr>
          <p:cNvPr id="3" name="Rectangle 2"/>
          <p:cNvSpPr/>
          <p:nvPr/>
        </p:nvSpPr>
        <p:spPr>
          <a:xfrm>
            <a:off x="1562036" y="2941887"/>
            <a:ext cx="9067928" cy="3139321"/>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4400" b="0" i="0" u="none" strike="noStrike" kern="1200" cap="none" spc="0" normalizeH="0" baseline="0" noProof="0" dirty="0" smtClean="0">
                <a:ln>
                  <a:noFill/>
                </a:ln>
                <a:solidFill>
                  <a:srgbClr val="FFFFFF"/>
                </a:solidFill>
                <a:effectLst/>
                <a:uLnTx/>
                <a:uFillTx/>
                <a:latin typeface="Segoe UI Semibold" panose="020B0702040204020203" pitchFamily="34" charset="0"/>
                <a:ea typeface="+mn-ea"/>
                <a:cs typeface="Segoe UI Semibold" panose="020B0702040204020203" pitchFamily="34" charset="0"/>
              </a:rPr>
              <a:t>Join</a:t>
            </a:r>
            <a:r>
              <a:rPr kumimoji="0" lang="en-US" sz="4400" b="0" i="0" u="none" strike="noStrike" kern="1200" cap="none" spc="0" normalizeH="0" baseline="0" noProof="0" dirty="0" smtClean="0">
                <a:ln>
                  <a:noFill/>
                </a:ln>
                <a:solidFill>
                  <a:srgbClr val="FFFFFF"/>
                </a:solidFill>
                <a:effectLst/>
                <a:uLnTx/>
                <a:uFillTx/>
                <a:latin typeface="Segoe Pro Display SemiLight" panose="020B0402040204020203" pitchFamily="34" charset="0"/>
                <a:ea typeface="+mn-ea"/>
                <a:cs typeface="+mn-cs"/>
              </a:rPr>
              <a:t> bizspark.com</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4400" b="0" i="0" u="none" strike="noStrike" kern="1200" cap="none" spc="0" normalizeH="0" baseline="0" noProof="0" dirty="0" smtClean="0">
                <a:ln>
                  <a:noFill/>
                </a:ln>
                <a:solidFill>
                  <a:srgbClr val="FFFFFF"/>
                </a:solidFill>
                <a:effectLst/>
                <a:uLnTx/>
                <a:uFillTx/>
                <a:latin typeface="Segoe UI Semibold" panose="020B0702040204020203" pitchFamily="34" charset="0"/>
                <a:ea typeface="+mn-ea"/>
                <a:cs typeface="Segoe UI Semibold" panose="020B0702040204020203" pitchFamily="34" charset="0"/>
              </a:rPr>
              <a:t>Learn</a:t>
            </a:r>
            <a:r>
              <a:rPr kumimoji="0" lang="en-US" sz="4400" b="0" i="0" u="none" strike="noStrike" kern="1200" cap="none" spc="0" normalizeH="0" baseline="0" noProof="0" dirty="0" smtClean="0">
                <a:ln>
                  <a:noFill/>
                </a:ln>
                <a:solidFill>
                  <a:srgbClr val="FFFFFF"/>
                </a:solidFill>
                <a:effectLst/>
                <a:uLnTx/>
                <a:uFillTx/>
                <a:latin typeface="Segoe Pro Display SemiLight" panose="020B0402040204020203" pitchFamily="34" charset="0"/>
                <a:ea typeface="+mn-ea"/>
                <a:cs typeface="+mn-cs"/>
              </a:rPr>
              <a:t> aka.ms/</a:t>
            </a:r>
            <a:r>
              <a:rPr kumimoji="0" lang="en-US" sz="4400" b="0" i="0" u="none" strike="noStrike" kern="1200" cap="none" spc="0" normalizeH="0" baseline="0" noProof="0" dirty="0" err="1" smtClean="0">
                <a:ln>
                  <a:noFill/>
                </a:ln>
                <a:solidFill>
                  <a:srgbClr val="FFFFFF"/>
                </a:solidFill>
                <a:effectLst/>
                <a:uLnTx/>
                <a:uFillTx/>
                <a:latin typeface="Segoe Pro Display SemiLight" panose="020B0402040204020203" pitchFamily="34" charset="0"/>
                <a:ea typeface="+mn-ea"/>
                <a:cs typeface="+mn-cs"/>
              </a:rPr>
              <a:t>bizsparkguide</a:t>
            </a:r>
            <a:endParaRPr kumimoji="0" lang="en-US" sz="4400" b="0" i="0" u="none" strike="noStrike" kern="1200" cap="none" spc="0" normalizeH="0" baseline="0" noProof="0" dirty="0" smtClean="0">
              <a:ln>
                <a:noFill/>
              </a:ln>
              <a:solidFill>
                <a:srgbClr val="FFFFFF"/>
              </a:solidFill>
              <a:effectLst/>
              <a:uLnTx/>
              <a:uFillTx/>
              <a:latin typeface="Segoe Pro Display SemiLight" panose="020B0402040204020203" pitchFamily="34" charset="0"/>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4400" b="0" i="0" u="none" strike="noStrike" kern="1200" cap="none" spc="0" normalizeH="0" baseline="0" noProof="0" dirty="0" smtClean="0">
                <a:ln>
                  <a:noFill/>
                </a:ln>
                <a:solidFill>
                  <a:srgbClr val="FFFFFF"/>
                </a:solidFill>
                <a:effectLst/>
                <a:uLnTx/>
                <a:uFillTx/>
                <a:latin typeface="Segoe UI Semibold" panose="020B0702040204020203" pitchFamily="34" charset="0"/>
                <a:ea typeface="+mn-ea"/>
                <a:cs typeface="Segoe UI Semibold" panose="020B0702040204020203" pitchFamily="34" charset="0"/>
              </a:rPr>
              <a:t>Connect </a:t>
            </a:r>
            <a:r>
              <a:rPr kumimoji="0" lang="en-US" sz="4400" b="0" i="0" u="none" strike="noStrike" kern="1200" cap="none" spc="0" normalizeH="0" baseline="0" noProof="0" dirty="0" smtClean="0">
                <a:ln>
                  <a:noFill/>
                </a:ln>
                <a:solidFill>
                  <a:srgbClr val="FFFFFF"/>
                </a:solidFill>
                <a:effectLst/>
                <a:uLnTx/>
                <a:uFillTx/>
                <a:latin typeface="Segoe Pro Display SemiLight" panose="020B0402040204020203" pitchFamily="34" charset="0"/>
                <a:ea typeface="+mn-ea"/>
                <a:cs typeface="+mn-cs"/>
              </a:rPr>
              <a:t>bizsparkca@microsoft.com</a:t>
            </a:r>
            <a:endParaRPr kumimoji="0" lang="en-US" sz="4400" b="0" i="0" u="none" strike="noStrike" kern="1200" cap="none" spc="0" normalizeH="0" baseline="0" noProof="0" dirty="0">
              <a:ln>
                <a:noFill/>
              </a:ln>
              <a:solidFill>
                <a:srgbClr val="FFFFFF"/>
              </a:solidFill>
              <a:effectLst/>
              <a:uLnTx/>
              <a:uFillTx/>
              <a:latin typeface="Segoe Pro Display SemiLight" panose="020B0402040204020203" pitchFamily="34" charset="0"/>
              <a:ea typeface="+mn-ea"/>
              <a:cs typeface="+mn-cs"/>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69033" y="6063002"/>
            <a:ext cx="2112334" cy="777008"/>
          </a:xfrm>
          <a:prstGeom prst="rect">
            <a:avLst/>
          </a:prstGeom>
        </p:spPr>
      </p:pic>
    </p:spTree>
    <p:extLst>
      <p:ext uri="{BB962C8B-B14F-4D97-AF65-F5344CB8AC3E}">
        <p14:creationId xmlns:p14="http://schemas.microsoft.com/office/powerpoint/2010/main" val="12323946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rgbClr val="00B0F0"/>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a:t>
              </a: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endPar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9" name="Rectangle 8"/>
            <p:cNvSpPr/>
            <p:nvPr/>
          </p:nvSpPr>
          <p:spPr bwMode="auto">
            <a:xfrm>
              <a:off x="6079210" y="1581150"/>
              <a:ext cx="2683791" cy="3124200"/>
            </a:xfrm>
            <a:prstGeom prst="rect">
              <a:avLst/>
            </a:prstGeom>
            <a:solidFill>
              <a:srgbClr val="FFF2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r>
                <a:rPr lang="en-US" sz="2933" dirty="0" smtClean="0">
                  <a:gradFill>
                    <a:gsLst>
                      <a:gs pos="0">
                        <a:srgbClr val="FFFFFF"/>
                      </a:gs>
                      <a:gs pos="100000">
                        <a:srgbClr val="FFFFFF"/>
                      </a:gs>
                    </a:gsLst>
                    <a:lin ang="5400000" scaled="0"/>
                  </a:gradFill>
                </a:rPr>
                <a:t> </a:t>
              </a: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rgbClr val="00B0F0"/>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10770622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Gallery</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9</a:t>
            </a:fld>
            <a:endParaRPr lang="en-US"/>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sp>
        <p:nvSpPr>
          <p:cNvPr id="7" name="TextBox 6"/>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13189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xml><?xml version="1.0" encoding="utf-8"?>
<p:tagLst xmlns:a="http://schemas.openxmlformats.org/drawingml/2006/main" xmlns:r="http://schemas.openxmlformats.org/officeDocument/2006/relationships" xmlns:p="http://schemas.openxmlformats.org/presentationml/2006/main">
  <p:tag name="TIMING" val="|5.7|8.9|.5"/>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30EFEA-9AEA-457C-BAA8-93C4281792F5}">
  <ds:schemaRef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7054</TotalTime>
  <Words>6994</Words>
  <Application>Microsoft Office PowerPoint</Application>
  <PresentationFormat>Widescreen</PresentationFormat>
  <Paragraphs>1106</Paragraphs>
  <Slides>75</Slides>
  <Notes>61</Notes>
  <HiddenSlides>24</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75</vt:i4>
      </vt:variant>
    </vt:vector>
  </HeadingPairs>
  <TitlesOfParts>
    <vt:vector size="90" baseType="lpstr">
      <vt:lpstr>宋体</vt:lpstr>
      <vt:lpstr>Arial</vt:lpstr>
      <vt:lpstr>Calibri</vt:lpstr>
      <vt:lpstr>Courier New</vt:lpstr>
      <vt:lpstr>Segoe Light</vt:lpstr>
      <vt:lpstr>Segoe Pro Display Semibold</vt:lpstr>
      <vt:lpstr>Segoe Pro Display SemiLight</vt:lpstr>
      <vt:lpstr>Segoe Pro Semibold</vt:lpstr>
      <vt:lpstr>Segoe UI</vt:lpstr>
      <vt:lpstr>Segoe UI Light</vt:lpstr>
      <vt:lpstr>Segoe UI Semibold</vt:lpstr>
      <vt:lpstr>Times New Roman</vt:lpstr>
      <vt:lpstr>Wingdings</vt:lpstr>
      <vt:lpstr>Azure Medium</vt:lpstr>
      <vt:lpstr>Image</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PowerPoint Presentation</vt:lpstr>
      <vt:lpstr>General purpose compute: Standard tier Offers the most flexibility. Supports all virtual machine configurations and features </vt:lpstr>
      <vt:lpstr>Optimized compute 60% faster CPUs, more memory, and local SSD</vt:lpstr>
      <vt:lpstr>Performance optimized compute Unparalleled computational performance with latest CPUs, more memory, and more local SSD</vt:lpstr>
      <vt:lpstr>Network optimized Fast networking with Infiniband support Adds a 40Gbit/s InfiniBand network with remote direct memory access (RDMA) technology. Ideal for Message Passing Interface (MPI) applications, high-performance clusters, modeling and simulations, video encoding, and other compute or network intensive scenarios.</vt:lpstr>
      <vt:lpstr>Demo: Provisioning VM</vt:lpstr>
      <vt:lpstr>VM Extensions</vt:lpstr>
      <vt:lpstr>Demo: VM Extension</vt:lpstr>
      <vt:lpstr>VM Extensions</vt:lpstr>
      <vt:lpstr>VM Extensions</vt:lpstr>
      <vt:lpstr>Data Persistence</vt:lpstr>
      <vt:lpstr>Disks and Images</vt:lpstr>
      <vt:lpstr>Image Mobility</vt:lpstr>
      <vt:lpstr>VM disk layout - Windows</vt:lpstr>
      <vt:lpstr>VM disk layout - Linux</vt:lpstr>
      <vt:lpstr>Persistent Disks and Highly Durable</vt:lpstr>
      <vt:lpstr>Azure Files</vt:lpstr>
      <vt:lpstr>Azure Files - Scenarios</vt:lpstr>
      <vt:lpstr>Azure Files vs Disks</vt:lpstr>
      <vt:lpstr>Virtual Machine Availability</vt:lpstr>
      <vt:lpstr>Meaning of 9’s</vt:lpstr>
      <vt:lpstr>Service Level Agreements </vt:lpstr>
      <vt:lpstr>Availability Sets</vt:lpstr>
      <vt:lpstr>Fault and Update Domains (FD &amp; UD)</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Scaling</vt:lpstr>
      <vt:lpstr>Scaling Up - Portal</vt:lpstr>
      <vt:lpstr>Scaling Up – Command Line</vt:lpstr>
      <vt:lpstr>Scaling Up – APIs &amp; SDKs</vt:lpstr>
      <vt:lpstr>Auto Scale</vt:lpstr>
      <vt:lpstr>Demo: Configuring Autoscale</vt:lpstr>
      <vt:lpstr>Virtual Networks</vt:lpstr>
      <vt:lpstr>Azure Virtual Networks</vt:lpstr>
      <vt:lpstr>Virtual Network Scenarios</vt:lpstr>
      <vt:lpstr>Cross-premises Connectivity</vt:lpstr>
      <vt:lpstr>Demo: Virtual Network</vt:lpstr>
      <vt:lpstr>Docker</vt:lpstr>
      <vt:lpstr>Docker</vt:lpstr>
      <vt:lpstr>What is Docker?</vt:lpstr>
      <vt:lpstr>Docker Architecture</vt:lpstr>
      <vt:lpstr>Demo: Creating a LAMP Stack</vt:lpstr>
      <vt:lpstr>But wait, there’s more!</vt:lpstr>
      <vt:lpstr>Microsoft Azure Services </vt:lpstr>
      <vt:lpstr>How to get started</vt:lpstr>
      <vt:lpstr>PowerPoint Presentation</vt:lpstr>
      <vt:lpstr>Startups</vt:lpstr>
      <vt:lpstr>             BizSpark</vt:lpstr>
      <vt:lpstr>BizSpark is for tech startups</vt:lpstr>
      <vt:lpstr>BizSpark is not for startups</vt:lpstr>
      <vt:lpstr>What do BizSpark startups get?</vt:lpstr>
      <vt:lpstr>$150/month for 3 years in Azure Credits</vt:lpstr>
      <vt:lpstr>Free Software &amp; Services for 3 years</vt:lpstr>
      <vt:lpstr>BizSpark Plus (Azure 60k Offer)</vt:lpstr>
      <vt:lpstr>More developers == more benefits</vt:lpstr>
      <vt:lpstr>Maximize your benefits</vt:lpstr>
      <vt:lpstr>Join the over 2,800       tech startups benefiting from BizSpark &amp; Microsoft Azure today</vt:lpstr>
      <vt:lpstr>thank you</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Rami Sayar</cp:lastModifiedBy>
  <cp:revision>484</cp:revision>
  <cp:lastPrinted>2014-03-26T17:46:13Z</cp:lastPrinted>
  <dcterms:created xsi:type="dcterms:W3CDTF">2014-03-19T23:21:38Z</dcterms:created>
  <dcterms:modified xsi:type="dcterms:W3CDTF">2015-05-20T20:4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